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  <p:sldMasterId id="2147483868" r:id="rId5"/>
  </p:sldMasterIdLst>
  <p:notesMasterIdLst>
    <p:notesMasterId r:id="rId26"/>
  </p:notesMasterIdLst>
  <p:handoutMasterIdLst>
    <p:handoutMasterId r:id="rId27"/>
  </p:handoutMasterIdLst>
  <p:sldIdLst>
    <p:sldId id="256" r:id="rId6"/>
    <p:sldId id="2147376530" r:id="rId7"/>
    <p:sldId id="2147376531" r:id="rId8"/>
    <p:sldId id="2147376534" r:id="rId9"/>
    <p:sldId id="2147376535" r:id="rId10"/>
    <p:sldId id="2147376536" r:id="rId11"/>
    <p:sldId id="2147376537" r:id="rId12"/>
    <p:sldId id="2147376538" r:id="rId13"/>
    <p:sldId id="2147376539" r:id="rId14"/>
    <p:sldId id="2147376540" r:id="rId15"/>
    <p:sldId id="2147376541" r:id="rId16"/>
    <p:sldId id="2147376542" r:id="rId17"/>
    <p:sldId id="2147376543" r:id="rId18"/>
    <p:sldId id="2147376544" r:id="rId19"/>
    <p:sldId id="2147376545" r:id="rId20"/>
    <p:sldId id="257" r:id="rId21"/>
    <p:sldId id="2147376546" r:id="rId22"/>
    <p:sldId id="2147376547" r:id="rId23"/>
    <p:sldId id="2147376548" r:id="rId24"/>
    <p:sldId id="2147376549" r:id="rId25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44D47"/>
    <a:srgbClr val="666666"/>
    <a:srgbClr val="E32119"/>
    <a:srgbClr val="000000"/>
    <a:srgbClr val="FDC304"/>
    <a:srgbClr val="82CBD4"/>
    <a:srgbClr val="95C121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CE8E76-AF87-4D76-89EF-7DC6049B6A5C}" v="112" dt="2025-02-20T12:18:37.6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50" autoAdjust="0"/>
    <p:restoredTop sz="93792" autoAdjust="0"/>
  </p:normalViewPr>
  <p:slideViewPr>
    <p:cSldViewPr snapToGrid="0">
      <p:cViewPr varScale="1">
        <p:scale>
          <a:sx n="70" d="100"/>
          <a:sy n="70" d="100"/>
        </p:scale>
        <p:origin x="508" y="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mail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18-34</c:v>
                </c:pt>
                <c:pt idx="1">
                  <c:v>35-54</c:v>
                </c:pt>
                <c:pt idx="2">
                  <c:v>55+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</c:v>
                </c:pt>
                <c:pt idx="1">
                  <c:v>0.37</c:v>
                </c:pt>
                <c:pt idx="2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F6-4470-8A7D-6C273DA4D51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irect Mai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18-34</c:v>
                </c:pt>
                <c:pt idx="1">
                  <c:v>35-54</c:v>
                </c:pt>
                <c:pt idx="2">
                  <c:v>55+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24</c:v>
                </c:pt>
                <c:pt idx="1">
                  <c:v>0.38</c:v>
                </c:pt>
                <c:pt idx="2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F6-4470-8A7D-6C273DA4D51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ext Messag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18-34</c:v>
                </c:pt>
                <c:pt idx="1">
                  <c:v>35-54</c:v>
                </c:pt>
                <c:pt idx="2">
                  <c:v>55+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13</c:v>
                </c:pt>
                <c:pt idx="1">
                  <c:v>0.06</c:v>
                </c:pt>
                <c:pt idx="2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8F6-4470-8A7D-6C273DA4D51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ocial Media Messa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18-34</c:v>
                </c:pt>
                <c:pt idx="1">
                  <c:v>35-54</c:v>
                </c:pt>
                <c:pt idx="2">
                  <c:v>55+</c:v>
                </c:pt>
              </c:strCache>
            </c:strRef>
          </c:cat>
          <c:val>
            <c:numRef>
              <c:f>Sheet1!$E$2:$E$4</c:f>
              <c:numCache>
                <c:formatCode>0%</c:formatCode>
                <c:ptCount val="3"/>
                <c:pt idx="0">
                  <c:v>0.24</c:v>
                </c:pt>
                <c:pt idx="1">
                  <c:v>0.18</c:v>
                </c:pt>
                <c:pt idx="2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8F6-4470-8A7D-6C273DA4D5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37779888"/>
        <c:axId val="837780968"/>
      </c:barChart>
      <c:catAx>
        <c:axId val="83777988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7780968"/>
        <c:crosses val="autoZero"/>
        <c:auto val="1"/>
        <c:lblAlgn val="ctr"/>
        <c:lblOffset val="100"/>
        <c:noMultiLvlLbl val="0"/>
      </c:catAx>
      <c:valAx>
        <c:axId val="837780968"/>
        <c:scaling>
          <c:orientation val="minMax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837779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harity</c:v>
                </c:pt>
                <c:pt idx="1">
                  <c:v>Financial and Insurance Services</c:v>
                </c:pt>
                <c:pt idx="2">
                  <c:v>Medical</c:v>
                </c:pt>
                <c:pt idx="3">
                  <c:v>Retail/Online Retail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8.6999999999999994E-3</c:v>
                </c:pt>
                <c:pt idx="1">
                  <c:v>7.0000000000000001E-3</c:v>
                </c:pt>
                <c:pt idx="2">
                  <c:v>1.4E-2</c:v>
                </c:pt>
                <c:pt idx="3" formatCode="0%">
                  <c:v>1.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10-4000-BE83-B0BF009C2A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91489120"/>
        <c:axId val="991492400"/>
      </c:barChart>
      <c:catAx>
        <c:axId val="991489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1492400"/>
        <c:crosses val="autoZero"/>
        <c:auto val="1"/>
        <c:lblAlgn val="ctr"/>
        <c:lblOffset val="100"/>
        <c:noMultiLvlLbl val="0"/>
      </c:catAx>
      <c:valAx>
        <c:axId val="991492400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991489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1F821E7-8B65-40C9-B44F-6616B2FD7F3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F68A4B2-E549-423F-9FBC-FE90BF727C49}">
      <dgm:prSet/>
      <dgm:spPr/>
      <dgm:t>
        <a:bodyPr/>
        <a:lstStyle/>
        <a:p>
          <a:r>
            <a:rPr lang="en-GB" b="0" i="0" dirty="0"/>
            <a:t>Direct Mail is easier to understand and more memorable than digital media. It requires 21% less cognitive effort to process and elicits a much higher brand recall.</a:t>
          </a:r>
          <a:endParaRPr lang="en-US" dirty="0"/>
        </a:p>
      </dgm:t>
    </dgm:pt>
    <dgm:pt modelId="{1DA554E4-01F9-49C2-A84C-2C688FCE0489}" type="parTrans" cxnId="{7A75A995-8DAE-4BDD-90E5-FE2F7E5329C1}">
      <dgm:prSet/>
      <dgm:spPr/>
      <dgm:t>
        <a:bodyPr/>
        <a:lstStyle/>
        <a:p>
          <a:endParaRPr lang="en-US"/>
        </a:p>
      </dgm:t>
    </dgm:pt>
    <dgm:pt modelId="{B960A262-C59C-48A5-886D-B13B094FF749}" type="sibTrans" cxnId="{7A75A995-8DAE-4BDD-90E5-FE2F7E5329C1}">
      <dgm:prSet/>
      <dgm:spPr/>
      <dgm:t>
        <a:bodyPr/>
        <a:lstStyle/>
        <a:p>
          <a:endParaRPr lang="en-US"/>
        </a:p>
      </dgm:t>
    </dgm:pt>
    <dgm:pt modelId="{F20185AD-CEA2-4B11-BA00-1F23D9F9F6C3}">
      <dgm:prSet/>
      <dgm:spPr/>
      <dgm:t>
        <a:bodyPr/>
        <a:lstStyle/>
        <a:p>
          <a:r>
            <a:rPr lang="en-GB" b="0" i="0" dirty="0"/>
            <a:t>Direct mail is far more persuasive than digital media. Its motivation response is 20% higher – even more so if it appeals to more senses beyond touch.</a:t>
          </a:r>
          <a:endParaRPr lang="en-US" dirty="0"/>
        </a:p>
      </dgm:t>
    </dgm:pt>
    <dgm:pt modelId="{7F69EAB7-9FE3-4F9B-A664-A1174CA63AE4}" type="parTrans" cxnId="{DF6C9C4A-D6C3-4760-8638-38745ECCC59E}">
      <dgm:prSet/>
      <dgm:spPr/>
      <dgm:t>
        <a:bodyPr/>
        <a:lstStyle/>
        <a:p>
          <a:endParaRPr lang="en-US"/>
        </a:p>
      </dgm:t>
    </dgm:pt>
    <dgm:pt modelId="{1792C4E9-7D75-44C5-8872-D9E8E1BA46C8}" type="sibTrans" cxnId="{DF6C9C4A-D6C3-4760-8638-38745ECCC59E}">
      <dgm:prSet/>
      <dgm:spPr/>
      <dgm:t>
        <a:bodyPr/>
        <a:lstStyle/>
        <a:p>
          <a:endParaRPr lang="en-US"/>
        </a:p>
      </dgm:t>
    </dgm:pt>
    <dgm:pt modelId="{14BAD7D6-AFDB-436E-A117-1566BBBAD82D}">
      <dgm:prSet/>
      <dgm:spPr/>
      <dgm:t>
        <a:bodyPr/>
        <a:lstStyle/>
        <a:p>
          <a:r>
            <a:rPr lang="en-GB" b="0" i="0" dirty="0"/>
            <a:t>Direct mail is visually processed quicker than digital media. When considered in concert with its higher motivation and lower cognitive load, this suggests it gets the message across faster.</a:t>
          </a:r>
          <a:endParaRPr lang="en-US" dirty="0"/>
        </a:p>
      </dgm:t>
    </dgm:pt>
    <dgm:pt modelId="{4A0DE767-2868-4602-AD81-8B3D7B1995A1}" type="parTrans" cxnId="{5D57B6DE-11A4-4B51-B35C-E06FCD2D11C2}">
      <dgm:prSet/>
      <dgm:spPr/>
      <dgm:t>
        <a:bodyPr/>
        <a:lstStyle/>
        <a:p>
          <a:endParaRPr lang="en-US"/>
        </a:p>
      </dgm:t>
    </dgm:pt>
    <dgm:pt modelId="{0FB0CB26-8E68-4C59-ACF0-B9CA03C7D6BE}" type="sibTrans" cxnId="{5D57B6DE-11A4-4B51-B35C-E06FCD2D11C2}">
      <dgm:prSet/>
      <dgm:spPr/>
      <dgm:t>
        <a:bodyPr/>
        <a:lstStyle/>
        <a:p>
          <a:endParaRPr lang="en-US"/>
        </a:p>
      </dgm:t>
    </dgm:pt>
    <dgm:pt modelId="{0BBE4806-3430-4D8A-BFFA-02ABDF5B04A8}">
      <dgm:prSet/>
      <dgm:spPr/>
      <dgm:t>
        <a:bodyPr/>
        <a:lstStyle/>
        <a:p>
          <a:r>
            <a:rPr lang="en-GB" b="0" i="0" dirty="0"/>
            <a:t>Direct mail is more likely to drive behaviour than digital media. Surpassing the important motivation-to-cognitive load ratio threshold of 1.</a:t>
          </a:r>
          <a:endParaRPr lang="en-US" dirty="0"/>
        </a:p>
      </dgm:t>
    </dgm:pt>
    <dgm:pt modelId="{AB3F13F6-3D58-44B1-80A4-CDA56DC5159A}" type="parTrans" cxnId="{F91D3ED0-0E38-45CA-B0BC-C22BA69AC49D}">
      <dgm:prSet/>
      <dgm:spPr/>
      <dgm:t>
        <a:bodyPr/>
        <a:lstStyle/>
        <a:p>
          <a:endParaRPr lang="en-US"/>
        </a:p>
      </dgm:t>
    </dgm:pt>
    <dgm:pt modelId="{801DC28A-A0FB-48DC-A992-73170C3ECFC9}" type="sibTrans" cxnId="{F91D3ED0-0E38-45CA-B0BC-C22BA69AC49D}">
      <dgm:prSet/>
      <dgm:spPr/>
      <dgm:t>
        <a:bodyPr/>
        <a:lstStyle/>
        <a:p>
          <a:endParaRPr lang="en-US"/>
        </a:p>
      </dgm:t>
    </dgm:pt>
    <dgm:pt modelId="{C702CA95-3D6D-4073-A399-E05FE0BAE2F7}">
      <dgm:prSet/>
      <dgm:spPr/>
      <dgm:t>
        <a:bodyPr/>
        <a:lstStyle/>
        <a:p>
          <a:r>
            <a:rPr lang="en-GB" b="0" i="0" dirty="0"/>
            <a:t>Direct mail requires 21% less cognitive effort to process than digital media, says a study by market research firm True Impact. Therefore, it’s easier to understand and more memorable.</a:t>
          </a:r>
          <a:endParaRPr lang="en-US" dirty="0"/>
        </a:p>
      </dgm:t>
    </dgm:pt>
    <dgm:pt modelId="{BF556B1A-E180-44DF-BE35-86728684FB8C}" type="parTrans" cxnId="{7DE215A4-0FC2-42D8-AED4-D8D98B4200CE}">
      <dgm:prSet/>
      <dgm:spPr/>
      <dgm:t>
        <a:bodyPr/>
        <a:lstStyle/>
        <a:p>
          <a:endParaRPr lang="en-US"/>
        </a:p>
      </dgm:t>
    </dgm:pt>
    <dgm:pt modelId="{B17DC9EC-0131-4C4A-8D20-275805F1E3F0}" type="sibTrans" cxnId="{7DE215A4-0FC2-42D8-AED4-D8D98B4200CE}">
      <dgm:prSet/>
      <dgm:spPr/>
      <dgm:t>
        <a:bodyPr/>
        <a:lstStyle/>
        <a:p>
          <a:endParaRPr lang="en-US"/>
        </a:p>
      </dgm:t>
    </dgm:pt>
    <dgm:pt modelId="{F1234318-3891-4A3C-B7FB-13D301650C4C}">
      <dgm:prSet/>
      <dgm:spPr/>
      <dgm:t>
        <a:bodyPr/>
        <a:lstStyle/>
        <a:p>
          <a:r>
            <a:rPr lang="en-GB" b="0" i="0" dirty="0"/>
            <a:t>In 2021, only 11.9% of fundraising came from online donations, according to data in the most recent Blackbaud Institute Charitable Giving Report. This means that 88% of giving comes from offline sources – like mail.</a:t>
          </a:r>
          <a:endParaRPr lang="en-US" dirty="0"/>
        </a:p>
      </dgm:t>
    </dgm:pt>
    <dgm:pt modelId="{5AD2D09E-0ADD-498D-8E30-FDCB48B47307}" type="parTrans" cxnId="{D21307E7-E5BA-443B-9C3C-AA2A7E0B79D5}">
      <dgm:prSet/>
      <dgm:spPr/>
      <dgm:t>
        <a:bodyPr/>
        <a:lstStyle/>
        <a:p>
          <a:endParaRPr lang="en-US"/>
        </a:p>
      </dgm:t>
    </dgm:pt>
    <dgm:pt modelId="{A49298ED-5AED-44D4-BE1F-9FC0C8749A50}" type="sibTrans" cxnId="{D21307E7-E5BA-443B-9C3C-AA2A7E0B79D5}">
      <dgm:prSet/>
      <dgm:spPr/>
      <dgm:t>
        <a:bodyPr/>
        <a:lstStyle/>
        <a:p>
          <a:endParaRPr lang="en-US"/>
        </a:p>
      </dgm:t>
    </dgm:pt>
    <dgm:pt modelId="{8DE76AA6-81CA-4D10-AD59-581856BC7840}">
      <dgm:prSet/>
      <dgm:spPr/>
      <dgm:t>
        <a:bodyPr/>
        <a:lstStyle/>
        <a:p>
          <a:endParaRPr lang="en-US" dirty="0"/>
        </a:p>
      </dgm:t>
    </dgm:pt>
    <dgm:pt modelId="{D8184E72-43F8-4492-950B-0F016C113B9C}" type="parTrans" cxnId="{DA822CA7-FFED-4717-B7AD-3AF0613895E3}">
      <dgm:prSet/>
      <dgm:spPr/>
      <dgm:t>
        <a:bodyPr/>
        <a:lstStyle/>
        <a:p>
          <a:endParaRPr lang="en-US"/>
        </a:p>
      </dgm:t>
    </dgm:pt>
    <dgm:pt modelId="{F01C8DD3-2FE7-43A7-B585-1D2F15CB2618}" type="sibTrans" cxnId="{DA822CA7-FFED-4717-B7AD-3AF0613895E3}">
      <dgm:prSet/>
      <dgm:spPr/>
      <dgm:t>
        <a:bodyPr/>
        <a:lstStyle/>
        <a:p>
          <a:endParaRPr lang="en-US"/>
        </a:p>
      </dgm:t>
    </dgm:pt>
    <dgm:pt modelId="{3615DB72-90DE-446D-8DA3-DBB211C8114D}" type="pres">
      <dgm:prSet presAssocID="{51F821E7-8B65-40C9-B44F-6616B2FD7F3B}" presName="vert0" presStyleCnt="0">
        <dgm:presLayoutVars>
          <dgm:dir/>
          <dgm:animOne val="branch"/>
          <dgm:animLvl val="lvl"/>
        </dgm:presLayoutVars>
      </dgm:prSet>
      <dgm:spPr/>
    </dgm:pt>
    <dgm:pt modelId="{847B2EA8-F3E8-4964-9B95-D399D0E8F0A4}" type="pres">
      <dgm:prSet presAssocID="{3F68A4B2-E549-423F-9FBC-FE90BF727C49}" presName="thickLine" presStyleLbl="alignNode1" presStyleIdx="0" presStyleCnt="7"/>
      <dgm:spPr/>
    </dgm:pt>
    <dgm:pt modelId="{460D067D-B2CF-49C8-957C-80533B44AD9B}" type="pres">
      <dgm:prSet presAssocID="{3F68A4B2-E549-423F-9FBC-FE90BF727C49}" presName="horz1" presStyleCnt="0"/>
      <dgm:spPr/>
    </dgm:pt>
    <dgm:pt modelId="{CF3E329E-5EDE-4A78-8AC5-3C7A42544C4E}" type="pres">
      <dgm:prSet presAssocID="{3F68A4B2-E549-423F-9FBC-FE90BF727C49}" presName="tx1" presStyleLbl="revTx" presStyleIdx="0" presStyleCnt="7"/>
      <dgm:spPr/>
    </dgm:pt>
    <dgm:pt modelId="{43EECC35-9FB1-4A5F-B766-AE0167333006}" type="pres">
      <dgm:prSet presAssocID="{3F68A4B2-E549-423F-9FBC-FE90BF727C49}" presName="vert1" presStyleCnt="0"/>
      <dgm:spPr/>
    </dgm:pt>
    <dgm:pt modelId="{A03EC4EA-5CB7-4F0F-B4F7-24E8455AB1F8}" type="pres">
      <dgm:prSet presAssocID="{F20185AD-CEA2-4B11-BA00-1F23D9F9F6C3}" presName="thickLine" presStyleLbl="alignNode1" presStyleIdx="1" presStyleCnt="7"/>
      <dgm:spPr/>
    </dgm:pt>
    <dgm:pt modelId="{39B71BC5-6B07-4FF1-8A3B-97961095F676}" type="pres">
      <dgm:prSet presAssocID="{F20185AD-CEA2-4B11-BA00-1F23D9F9F6C3}" presName="horz1" presStyleCnt="0"/>
      <dgm:spPr/>
    </dgm:pt>
    <dgm:pt modelId="{E04FE0DA-2ED8-4D26-90AA-7F6CC3FC7F01}" type="pres">
      <dgm:prSet presAssocID="{F20185AD-CEA2-4B11-BA00-1F23D9F9F6C3}" presName="tx1" presStyleLbl="revTx" presStyleIdx="1" presStyleCnt="7"/>
      <dgm:spPr/>
    </dgm:pt>
    <dgm:pt modelId="{0D2612CC-C53A-4A97-97B6-14A2808356D3}" type="pres">
      <dgm:prSet presAssocID="{F20185AD-CEA2-4B11-BA00-1F23D9F9F6C3}" presName="vert1" presStyleCnt="0"/>
      <dgm:spPr/>
    </dgm:pt>
    <dgm:pt modelId="{13EAA642-77D6-46D3-8F79-6976142ECBF5}" type="pres">
      <dgm:prSet presAssocID="{14BAD7D6-AFDB-436E-A117-1566BBBAD82D}" presName="thickLine" presStyleLbl="alignNode1" presStyleIdx="2" presStyleCnt="7"/>
      <dgm:spPr/>
    </dgm:pt>
    <dgm:pt modelId="{B58B99C7-AE47-45C9-920E-2627DA120A04}" type="pres">
      <dgm:prSet presAssocID="{14BAD7D6-AFDB-436E-A117-1566BBBAD82D}" presName="horz1" presStyleCnt="0"/>
      <dgm:spPr/>
    </dgm:pt>
    <dgm:pt modelId="{B154C268-6BAF-4DCD-BD25-75283F1168C3}" type="pres">
      <dgm:prSet presAssocID="{14BAD7D6-AFDB-436E-A117-1566BBBAD82D}" presName="tx1" presStyleLbl="revTx" presStyleIdx="2" presStyleCnt="7"/>
      <dgm:spPr/>
    </dgm:pt>
    <dgm:pt modelId="{DEBB2222-71A3-49B8-88ED-60BC86012499}" type="pres">
      <dgm:prSet presAssocID="{14BAD7D6-AFDB-436E-A117-1566BBBAD82D}" presName="vert1" presStyleCnt="0"/>
      <dgm:spPr/>
    </dgm:pt>
    <dgm:pt modelId="{17AFD7A9-AA3D-47DB-8B3E-777DD384B93A}" type="pres">
      <dgm:prSet presAssocID="{0BBE4806-3430-4D8A-BFFA-02ABDF5B04A8}" presName="thickLine" presStyleLbl="alignNode1" presStyleIdx="3" presStyleCnt="7"/>
      <dgm:spPr/>
    </dgm:pt>
    <dgm:pt modelId="{361384FF-9570-4D9E-9B3F-0255341CEF8C}" type="pres">
      <dgm:prSet presAssocID="{0BBE4806-3430-4D8A-BFFA-02ABDF5B04A8}" presName="horz1" presStyleCnt="0"/>
      <dgm:spPr/>
    </dgm:pt>
    <dgm:pt modelId="{B7C86532-6D13-4DDB-BEC0-8285E18C1484}" type="pres">
      <dgm:prSet presAssocID="{0BBE4806-3430-4D8A-BFFA-02ABDF5B04A8}" presName="tx1" presStyleLbl="revTx" presStyleIdx="3" presStyleCnt="7"/>
      <dgm:spPr/>
    </dgm:pt>
    <dgm:pt modelId="{F6208D55-DEAE-49F3-BAFC-1546861E9235}" type="pres">
      <dgm:prSet presAssocID="{0BBE4806-3430-4D8A-BFFA-02ABDF5B04A8}" presName="vert1" presStyleCnt="0"/>
      <dgm:spPr/>
    </dgm:pt>
    <dgm:pt modelId="{8321FC8A-BD39-4039-8061-C970D310DC2E}" type="pres">
      <dgm:prSet presAssocID="{C702CA95-3D6D-4073-A399-E05FE0BAE2F7}" presName="thickLine" presStyleLbl="alignNode1" presStyleIdx="4" presStyleCnt="7"/>
      <dgm:spPr/>
    </dgm:pt>
    <dgm:pt modelId="{621EEE26-302F-4915-BF5C-203581F71A75}" type="pres">
      <dgm:prSet presAssocID="{C702CA95-3D6D-4073-A399-E05FE0BAE2F7}" presName="horz1" presStyleCnt="0"/>
      <dgm:spPr/>
    </dgm:pt>
    <dgm:pt modelId="{47DC168A-F0BA-40F5-AAF7-EE881E43215D}" type="pres">
      <dgm:prSet presAssocID="{C702CA95-3D6D-4073-A399-E05FE0BAE2F7}" presName="tx1" presStyleLbl="revTx" presStyleIdx="4" presStyleCnt="7"/>
      <dgm:spPr/>
    </dgm:pt>
    <dgm:pt modelId="{CAAD7470-7CFA-46C4-AE48-E9E30908957E}" type="pres">
      <dgm:prSet presAssocID="{C702CA95-3D6D-4073-A399-E05FE0BAE2F7}" presName="vert1" presStyleCnt="0"/>
      <dgm:spPr/>
    </dgm:pt>
    <dgm:pt modelId="{6B7858DA-FBC5-4818-9980-4E233EE2A1BC}" type="pres">
      <dgm:prSet presAssocID="{F1234318-3891-4A3C-B7FB-13D301650C4C}" presName="thickLine" presStyleLbl="alignNode1" presStyleIdx="5" presStyleCnt="7"/>
      <dgm:spPr/>
    </dgm:pt>
    <dgm:pt modelId="{51D8D13D-776C-48BE-BCD1-C36D4ED27210}" type="pres">
      <dgm:prSet presAssocID="{F1234318-3891-4A3C-B7FB-13D301650C4C}" presName="horz1" presStyleCnt="0"/>
      <dgm:spPr/>
    </dgm:pt>
    <dgm:pt modelId="{8EAC60A8-D2B9-42D2-B14B-F51EA57CAC75}" type="pres">
      <dgm:prSet presAssocID="{F1234318-3891-4A3C-B7FB-13D301650C4C}" presName="tx1" presStyleLbl="revTx" presStyleIdx="5" presStyleCnt="7"/>
      <dgm:spPr/>
    </dgm:pt>
    <dgm:pt modelId="{D599EBC1-C100-4FF0-B539-303B190741C4}" type="pres">
      <dgm:prSet presAssocID="{F1234318-3891-4A3C-B7FB-13D301650C4C}" presName="vert1" presStyleCnt="0"/>
      <dgm:spPr/>
    </dgm:pt>
    <dgm:pt modelId="{A27963E7-572E-4E35-8585-C736E4E548E3}" type="pres">
      <dgm:prSet presAssocID="{8DE76AA6-81CA-4D10-AD59-581856BC7840}" presName="thickLine" presStyleLbl="alignNode1" presStyleIdx="6" presStyleCnt="7"/>
      <dgm:spPr/>
    </dgm:pt>
    <dgm:pt modelId="{E72064C6-459C-4AF1-9F7F-37DE1FC3C99D}" type="pres">
      <dgm:prSet presAssocID="{8DE76AA6-81CA-4D10-AD59-581856BC7840}" presName="horz1" presStyleCnt="0"/>
      <dgm:spPr/>
    </dgm:pt>
    <dgm:pt modelId="{F36AD534-B217-434D-ACEA-FFEEF19BFBCF}" type="pres">
      <dgm:prSet presAssocID="{8DE76AA6-81CA-4D10-AD59-581856BC7840}" presName="tx1" presStyleLbl="revTx" presStyleIdx="6" presStyleCnt="7"/>
      <dgm:spPr/>
    </dgm:pt>
    <dgm:pt modelId="{8B40DE3D-8094-41BE-804A-54398EA0F3F2}" type="pres">
      <dgm:prSet presAssocID="{8DE76AA6-81CA-4D10-AD59-581856BC7840}" presName="vert1" presStyleCnt="0"/>
      <dgm:spPr/>
    </dgm:pt>
  </dgm:ptLst>
  <dgm:cxnLst>
    <dgm:cxn modelId="{C8DBE11F-1291-41FD-9E70-0F496406A58A}" type="presOf" srcId="{F1234318-3891-4A3C-B7FB-13D301650C4C}" destId="{8EAC60A8-D2B9-42D2-B14B-F51EA57CAC75}" srcOrd="0" destOrd="0" presId="urn:microsoft.com/office/officeart/2008/layout/LinedList"/>
    <dgm:cxn modelId="{BED96429-2FA1-4F87-9F36-7115793C48DE}" type="presOf" srcId="{51F821E7-8B65-40C9-B44F-6616B2FD7F3B}" destId="{3615DB72-90DE-446D-8DA3-DBB211C8114D}" srcOrd="0" destOrd="0" presId="urn:microsoft.com/office/officeart/2008/layout/LinedList"/>
    <dgm:cxn modelId="{C7DF7034-2C4B-44EA-9486-1CD6F4FAD347}" type="presOf" srcId="{3F68A4B2-E549-423F-9FBC-FE90BF727C49}" destId="{CF3E329E-5EDE-4A78-8AC5-3C7A42544C4E}" srcOrd="0" destOrd="0" presId="urn:microsoft.com/office/officeart/2008/layout/LinedList"/>
    <dgm:cxn modelId="{DF6C9C4A-D6C3-4760-8638-38745ECCC59E}" srcId="{51F821E7-8B65-40C9-B44F-6616B2FD7F3B}" destId="{F20185AD-CEA2-4B11-BA00-1F23D9F9F6C3}" srcOrd="1" destOrd="0" parTransId="{7F69EAB7-9FE3-4F9B-A664-A1174CA63AE4}" sibTransId="{1792C4E9-7D75-44C5-8872-D9E8E1BA46C8}"/>
    <dgm:cxn modelId="{7195378E-8F2E-4D81-AE7D-4CCA3E3E7CF1}" type="presOf" srcId="{14BAD7D6-AFDB-436E-A117-1566BBBAD82D}" destId="{B154C268-6BAF-4DCD-BD25-75283F1168C3}" srcOrd="0" destOrd="0" presId="urn:microsoft.com/office/officeart/2008/layout/LinedList"/>
    <dgm:cxn modelId="{7A75A995-8DAE-4BDD-90E5-FE2F7E5329C1}" srcId="{51F821E7-8B65-40C9-B44F-6616B2FD7F3B}" destId="{3F68A4B2-E549-423F-9FBC-FE90BF727C49}" srcOrd="0" destOrd="0" parTransId="{1DA554E4-01F9-49C2-A84C-2C688FCE0489}" sibTransId="{B960A262-C59C-48A5-886D-B13B094FF749}"/>
    <dgm:cxn modelId="{7DE215A4-0FC2-42D8-AED4-D8D98B4200CE}" srcId="{51F821E7-8B65-40C9-B44F-6616B2FD7F3B}" destId="{C702CA95-3D6D-4073-A399-E05FE0BAE2F7}" srcOrd="4" destOrd="0" parTransId="{BF556B1A-E180-44DF-BE35-86728684FB8C}" sibTransId="{B17DC9EC-0131-4C4A-8D20-275805F1E3F0}"/>
    <dgm:cxn modelId="{DA822CA7-FFED-4717-B7AD-3AF0613895E3}" srcId="{51F821E7-8B65-40C9-B44F-6616B2FD7F3B}" destId="{8DE76AA6-81CA-4D10-AD59-581856BC7840}" srcOrd="6" destOrd="0" parTransId="{D8184E72-43F8-4492-950B-0F016C113B9C}" sibTransId="{F01C8DD3-2FE7-43A7-B585-1D2F15CB2618}"/>
    <dgm:cxn modelId="{75FE78C0-8646-4A7E-A7E9-5665B4A62D77}" type="presOf" srcId="{8DE76AA6-81CA-4D10-AD59-581856BC7840}" destId="{F36AD534-B217-434D-ACEA-FFEEF19BFBCF}" srcOrd="0" destOrd="0" presId="urn:microsoft.com/office/officeart/2008/layout/LinedList"/>
    <dgm:cxn modelId="{F91D3ED0-0E38-45CA-B0BC-C22BA69AC49D}" srcId="{51F821E7-8B65-40C9-B44F-6616B2FD7F3B}" destId="{0BBE4806-3430-4D8A-BFFA-02ABDF5B04A8}" srcOrd="3" destOrd="0" parTransId="{AB3F13F6-3D58-44B1-80A4-CDA56DC5159A}" sibTransId="{801DC28A-A0FB-48DC-A992-73170C3ECFC9}"/>
    <dgm:cxn modelId="{5D57B6DE-11A4-4B51-B35C-E06FCD2D11C2}" srcId="{51F821E7-8B65-40C9-B44F-6616B2FD7F3B}" destId="{14BAD7D6-AFDB-436E-A117-1566BBBAD82D}" srcOrd="2" destOrd="0" parTransId="{4A0DE767-2868-4602-AD81-8B3D7B1995A1}" sibTransId="{0FB0CB26-8E68-4C59-ACF0-B9CA03C7D6BE}"/>
    <dgm:cxn modelId="{A97FB4E0-5522-432E-8145-6BE7D714FDB6}" type="presOf" srcId="{C702CA95-3D6D-4073-A399-E05FE0BAE2F7}" destId="{47DC168A-F0BA-40F5-AAF7-EE881E43215D}" srcOrd="0" destOrd="0" presId="urn:microsoft.com/office/officeart/2008/layout/LinedList"/>
    <dgm:cxn modelId="{D21307E7-E5BA-443B-9C3C-AA2A7E0B79D5}" srcId="{51F821E7-8B65-40C9-B44F-6616B2FD7F3B}" destId="{F1234318-3891-4A3C-B7FB-13D301650C4C}" srcOrd="5" destOrd="0" parTransId="{5AD2D09E-0ADD-498D-8E30-FDCB48B47307}" sibTransId="{A49298ED-5AED-44D4-BE1F-9FC0C8749A50}"/>
    <dgm:cxn modelId="{A39090F3-2DC9-4043-8BC6-8F68A9BC1B2C}" type="presOf" srcId="{F20185AD-CEA2-4B11-BA00-1F23D9F9F6C3}" destId="{E04FE0DA-2ED8-4D26-90AA-7F6CC3FC7F01}" srcOrd="0" destOrd="0" presId="urn:microsoft.com/office/officeart/2008/layout/LinedList"/>
    <dgm:cxn modelId="{C1AC32F6-784A-4B82-AF07-A2468B1629F2}" type="presOf" srcId="{0BBE4806-3430-4D8A-BFFA-02ABDF5B04A8}" destId="{B7C86532-6D13-4DDB-BEC0-8285E18C1484}" srcOrd="0" destOrd="0" presId="urn:microsoft.com/office/officeart/2008/layout/LinedList"/>
    <dgm:cxn modelId="{16F7BFCD-7242-4038-AF7F-670E884B8D74}" type="presParOf" srcId="{3615DB72-90DE-446D-8DA3-DBB211C8114D}" destId="{847B2EA8-F3E8-4964-9B95-D399D0E8F0A4}" srcOrd="0" destOrd="0" presId="urn:microsoft.com/office/officeart/2008/layout/LinedList"/>
    <dgm:cxn modelId="{470E77D7-7A72-4261-9183-ED659BB3E08D}" type="presParOf" srcId="{3615DB72-90DE-446D-8DA3-DBB211C8114D}" destId="{460D067D-B2CF-49C8-957C-80533B44AD9B}" srcOrd="1" destOrd="0" presId="urn:microsoft.com/office/officeart/2008/layout/LinedList"/>
    <dgm:cxn modelId="{DA9E89D5-0119-4737-BA3A-382BC5320D00}" type="presParOf" srcId="{460D067D-B2CF-49C8-957C-80533B44AD9B}" destId="{CF3E329E-5EDE-4A78-8AC5-3C7A42544C4E}" srcOrd="0" destOrd="0" presId="urn:microsoft.com/office/officeart/2008/layout/LinedList"/>
    <dgm:cxn modelId="{1A1AA9F7-00F6-4B4D-A778-B21CDD8E652D}" type="presParOf" srcId="{460D067D-B2CF-49C8-957C-80533B44AD9B}" destId="{43EECC35-9FB1-4A5F-B766-AE0167333006}" srcOrd="1" destOrd="0" presId="urn:microsoft.com/office/officeart/2008/layout/LinedList"/>
    <dgm:cxn modelId="{07F57702-0A19-487B-9A9F-83BEFB35FB82}" type="presParOf" srcId="{3615DB72-90DE-446D-8DA3-DBB211C8114D}" destId="{A03EC4EA-5CB7-4F0F-B4F7-24E8455AB1F8}" srcOrd="2" destOrd="0" presId="urn:microsoft.com/office/officeart/2008/layout/LinedList"/>
    <dgm:cxn modelId="{0FF789F2-EEC7-4B1F-93E9-19CB8D157655}" type="presParOf" srcId="{3615DB72-90DE-446D-8DA3-DBB211C8114D}" destId="{39B71BC5-6B07-4FF1-8A3B-97961095F676}" srcOrd="3" destOrd="0" presId="urn:microsoft.com/office/officeart/2008/layout/LinedList"/>
    <dgm:cxn modelId="{D2D6CD37-6177-497B-8DE1-E7D00BB91181}" type="presParOf" srcId="{39B71BC5-6B07-4FF1-8A3B-97961095F676}" destId="{E04FE0DA-2ED8-4D26-90AA-7F6CC3FC7F01}" srcOrd="0" destOrd="0" presId="urn:microsoft.com/office/officeart/2008/layout/LinedList"/>
    <dgm:cxn modelId="{538ED05A-CEA4-48A0-AF37-58BAE22B7976}" type="presParOf" srcId="{39B71BC5-6B07-4FF1-8A3B-97961095F676}" destId="{0D2612CC-C53A-4A97-97B6-14A2808356D3}" srcOrd="1" destOrd="0" presId="urn:microsoft.com/office/officeart/2008/layout/LinedList"/>
    <dgm:cxn modelId="{FF50D394-330E-4793-9972-8E48FF781BEA}" type="presParOf" srcId="{3615DB72-90DE-446D-8DA3-DBB211C8114D}" destId="{13EAA642-77D6-46D3-8F79-6976142ECBF5}" srcOrd="4" destOrd="0" presId="urn:microsoft.com/office/officeart/2008/layout/LinedList"/>
    <dgm:cxn modelId="{B313A75C-10E3-4E1C-8A71-75533C501406}" type="presParOf" srcId="{3615DB72-90DE-446D-8DA3-DBB211C8114D}" destId="{B58B99C7-AE47-45C9-920E-2627DA120A04}" srcOrd="5" destOrd="0" presId="urn:microsoft.com/office/officeart/2008/layout/LinedList"/>
    <dgm:cxn modelId="{A18E202D-6C4A-4638-8DA0-9B93D48D9085}" type="presParOf" srcId="{B58B99C7-AE47-45C9-920E-2627DA120A04}" destId="{B154C268-6BAF-4DCD-BD25-75283F1168C3}" srcOrd="0" destOrd="0" presId="urn:microsoft.com/office/officeart/2008/layout/LinedList"/>
    <dgm:cxn modelId="{35F34205-A219-49C0-8AA0-CBDDD36978E8}" type="presParOf" srcId="{B58B99C7-AE47-45C9-920E-2627DA120A04}" destId="{DEBB2222-71A3-49B8-88ED-60BC86012499}" srcOrd="1" destOrd="0" presId="urn:microsoft.com/office/officeart/2008/layout/LinedList"/>
    <dgm:cxn modelId="{8DE1EDEB-0556-4221-B1FC-5FCB9BF5D9B1}" type="presParOf" srcId="{3615DB72-90DE-446D-8DA3-DBB211C8114D}" destId="{17AFD7A9-AA3D-47DB-8B3E-777DD384B93A}" srcOrd="6" destOrd="0" presId="urn:microsoft.com/office/officeart/2008/layout/LinedList"/>
    <dgm:cxn modelId="{9975FCDE-A900-4D47-AB2A-789010A32308}" type="presParOf" srcId="{3615DB72-90DE-446D-8DA3-DBB211C8114D}" destId="{361384FF-9570-4D9E-9B3F-0255341CEF8C}" srcOrd="7" destOrd="0" presId="urn:microsoft.com/office/officeart/2008/layout/LinedList"/>
    <dgm:cxn modelId="{FE3D367A-5A83-4531-A9EC-28CC83B8E81F}" type="presParOf" srcId="{361384FF-9570-4D9E-9B3F-0255341CEF8C}" destId="{B7C86532-6D13-4DDB-BEC0-8285E18C1484}" srcOrd="0" destOrd="0" presId="urn:microsoft.com/office/officeart/2008/layout/LinedList"/>
    <dgm:cxn modelId="{5C0872E1-BECA-46E4-88C2-BE13EBFB0660}" type="presParOf" srcId="{361384FF-9570-4D9E-9B3F-0255341CEF8C}" destId="{F6208D55-DEAE-49F3-BAFC-1546861E9235}" srcOrd="1" destOrd="0" presId="urn:microsoft.com/office/officeart/2008/layout/LinedList"/>
    <dgm:cxn modelId="{95554604-DFE3-483D-9F87-7B5DDEDADDF0}" type="presParOf" srcId="{3615DB72-90DE-446D-8DA3-DBB211C8114D}" destId="{8321FC8A-BD39-4039-8061-C970D310DC2E}" srcOrd="8" destOrd="0" presId="urn:microsoft.com/office/officeart/2008/layout/LinedList"/>
    <dgm:cxn modelId="{29FD291C-231F-4697-8CCD-5B5CD662B274}" type="presParOf" srcId="{3615DB72-90DE-446D-8DA3-DBB211C8114D}" destId="{621EEE26-302F-4915-BF5C-203581F71A75}" srcOrd="9" destOrd="0" presId="urn:microsoft.com/office/officeart/2008/layout/LinedList"/>
    <dgm:cxn modelId="{421A058F-17FD-4117-B1F4-3A94F97C8B21}" type="presParOf" srcId="{621EEE26-302F-4915-BF5C-203581F71A75}" destId="{47DC168A-F0BA-40F5-AAF7-EE881E43215D}" srcOrd="0" destOrd="0" presId="urn:microsoft.com/office/officeart/2008/layout/LinedList"/>
    <dgm:cxn modelId="{952E5CF4-57EF-4576-9EEA-EC018A530398}" type="presParOf" srcId="{621EEE26-302F-4915-BF5C-203581F71A75}" destId="{CAAD7470-7CFA-46C4-AE48-E9E30908957E}" srcOrd="1" destOrd="0" presId="urn:microsoft.com/office/officeart/2008/layout/LinedList"/>
    <dgm:cxn modelId="{068BB097-9D7D-4EFA-B97A-CF7C660D126F}" type="presParOf" srcId="{3615DB72-90DE-446D-8DA3-DBB211C8114D}" destId="{6B7858DA-FBC5-4818-9980-4E233EE2A1BC}" srcOrd="10" destOrd="0" presId="urn:microsoft.com/office/officeart/2008/layout/LinedList"/>
    <dgm:cxn modelId="{61C2D45F-7FDE-46F6-A183-E88B960299D1}" type="presParOf" srcId="{3615DB72-90DE-446D-8DA3-DBB211C8114D}" destId="{51D8D13D-776C-48BE-BCD1-C36D4ED27210}" srcOrd="11" destOrd="0" presId="urn:microsoft.com/office/officeart/2008/layout/LinedList"/>
    <dgm:cxn modelId="{C9784027-38D4-4D14-A2D4-987CB13F090D}" type="presParOf" srcId="{51D8D13D-776C-48BE-BCD1-C36D4ED27210}" destId="{8EAC60A8-D2B9-42D2-B14B-F51EA57CAC75}" srcOrd="0" destOrd="0" presId="urn:microsoft.com/office/officeart/2008/layout/LinedList"/>
    <dgm:cxn modelId="{4232B026-2B77-4AED-8165-BEBBD3F5AB10}" type="presParOf" srcId="{51D8D13D-776C-48BE-BCD1-C36D4ED27210}" destId="{D599EBC1-C100-4FF0-B539-303B190741C4}" srcOrd="1" destOrd="0" presId="urn:microsoft.com/office/officeart/2008/layout/LinedList"/>
    <dgm:cxn modelId="{82DC56BD-3ABD-4D8E-B27A-403A7B5ED841}" type="presParOf" srcId="{3615DB72-90DE-446D-8DA3-DBB211C8114D}" destId="{A27963E7-572E-4E35-8585-C736E4E548E3}" srcOrd="12" destOrd="0" presId="urn:microsoft.com/office/officeart/2008/layout/LinedList"/>
    <dgm:cxn modelId="{94AE94BD-AD2E-4AC7-9C24-BB90DF120EA7}" type="presParOf" srcId="{3615DB72-90DE-446D-8DA3-DBB211C8114D}" destId="{E72064C6-459C-4AF1-9F7F-37DE1FC3C99D}" srcOrd="13" destOrd="0" presId="urn:microsoft.com/office/officeart/2008/layout/LinedList"/>
    <dgm:cxn modelId="{34BFACD7-E5A6-4072-9483-9D7912254E8C}" type="presParOf" srcId="{E72064C6-459C-4AF1-9F7F-37DE1FC3C99D}" destId="{F36AD534-B217-434D-ACEA-FFEEF19BFBCF}" srcOrd="0" destOrd="0" presId="urn:microsoft.com/office/officeart/2008/layout/LinedList"/>
    <dgm:cxn modelId="{76907E42-C3AF-477A-9C6E-2F6A62927341}" type="presParOf" srcId="{E72064C6-459C-4AF1-9F7F-37DE1FC3C99D}" destId="{8B40DE3D-8094-41BE-804A-54398EA0F3F2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7B2EA8-F3E8-4964-9B95-D399D0E8F0A4}">
      <dsp:nvSpPr>
        <dsp:cNvPr id="0" name=""/>
        <dsp:cNvSpPr/>
      </dsp:nvSpPr>
      <dsp:spPr>
        <a:xfrm>
          <a:off x="0" y="546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3E329E-5EDE-4A78-8AC5-3C7A42544C4E}">
      <dsp:nvSpPr>
        <dsp:cNvPr id="0" name=""/>
        <dsp:cNvSpPr/>
      </dsp:nvSpPr>
      <dsp:spPr>
        <a:xfrm>
          <a:off x="0" y="546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 dirty="0"/>
            <a:t>Direct Mail is easier to understand and more memorable than digital media. It requires 21% less cognitive effort to process and elicits a much higher brand recall.</a:t>
          </a:r>
          <a:endParaRPr lang="en-US" sz="1700" kern="1200" dirty="0"/>
        </a:p>
      </dsp:txBody>
      <dsp:txXfrm>
        <a:off x="0" y="546"/>
        <a:ext cx="11332026" cy="639379"/>
      </dsp:txXfrm>
    </dsp:sp>
    <dsp:sp modelId="{A03EC4EA-5CB7-4F0F-B4F7-24E8455AB1F8}">
      <dsp:nvSpPr>
        <dsp:cNvPr id="0" name=""/>
        <dsp:cNvSpPr/>
      </dsp:nvSpPr>
      <dsp:spPr>
        <a:xfrm>
          <a:off x="0" y="639926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4FE0DA-2ED8-4D26-90AA-7F6CC3FC7F01}">
      <dsp:nvSpPr>
        <dsp:cNvPr id="0" name=""/>
        <dsp:cNvSpPr/>
      </dsp:nvSpPr>
      <dsp:spPr>
        <a:xfrm>
          <a:off x="0" y="639926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 dirty="0"/>
            <a:t>Direct mail is far more persuasive than digital media. Its motivation response is 20% higher – even more so if it appeals to more senses beyond touch.</a:t>
          </a:r>
          <a:endParaRPr lang="en-US" sz="1700" kern="1200" dirty="0"/>
        </a:p>
      </dsp:txBody>
      <dsp:txXfrm>
        <a:off x="0" y="639926"/>
        <a:ext cx="11332026" cy="639379"/>
      </dsp:txXfrm>
    </dsp:sp>
    <dsp:sp modelId="{13EAA642-77D6-46D3-8F79-6976142ECBF5}">
      <dsp:nvSpPr>
        <dsp:cNvPr id="0" name=""/>
        <dsp:cNvSpPr/>
      </dsp:nvSpPr>
      <dsp:spPr>
        <a:xfrm>
          <a:off x="0" y="1279305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54C268-6BAF-4DCD-BD25-75283F1168C3}">
      <dsp:nvSpPr>
        <dsp:cNvPr id="0" name=""/>
        <dsp:cNvSpPr/>
      </dsp:nvSpPr>
      <dsp:spPr>
        <a:xfrm>
          <a:off x="0" y="1279305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 dirty="0"/>
            <a:t>Direct mail is visually processed quicker than digital media. When considered in concert with its higher motivation and lower cognitive load, this suggests it gets the message across faster.</a:t>
          </a:r>
          <a:endParaRPr lang="en-US" sz="1700" kern="1200" dirty="0"/>
        </a:p>
      </dsp:txBody>
      <dsp:txXfrm>
        <a:off x="0" y="1279305"/>
        <a:ext cx="11332026" cy="639379"/>
      </dsp:txXfrm>
    </dsp:sp>
    <dsp:sp modelId="{17AFD7A9-AA3D-47DB-8B3E-777DD384B93A}">
      <dsp:nvSpPr>
        <dsp:cNvPr id="0" name=""/>
        <dsp:cNvSpPr/>
      </dsp:nvSpPr>
      <dsp:spPr>
        <a:xfrm>
          <a:off x="0" y="1918685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C86532-6D13-4DDB-BEC0-8285E18C1484}">
      <dsp:nvSpPr>
        <dsp:cNvPr id="0" name=""/>
        <dsp:cNvSpPr/>
      </dsp:nvSpPr>
      <dsp:spPr>
        <a:xfrm>
          <a:off x="0" y="1918685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 dirty="0"/>
            <a:t>Direct mail is more likely to drive behaviour than digital media. Surpassing the important motivation-to-cognitive load ratio threshold of 1.</a:t>
          </a:r>
          <a:endParaRPr lang="en-US" sz="1700" kern="1200" dirty="0"/>
        </a:p>
      </dsp:txBody>
      <dsp:txXfrm>
        <a:off x="0" y="1918685"/>
        <a:ext cx="11332026" cy="639379"/>
      </dsp:txXfrm>
    </dsp:sp>
    <dsp:sp modelId="{8321FC8A-BD39-4039-8061-C970D310DC2E}">
      <dsp:nvSpPr>
        <dsp:cNvPr id="0" name=""/>
        <dsp:cNvSpPr/>
      </dsp:nvSpPr>
      <dsp:spPr>
        <a:xfrm>
          <a:off x="0" y="2558064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DC168A-F0BA-40F5-AAF7-EE881E43215D}">
      <dsp:nvSpPr>
        <dsp:cNvPr id="0" name=""/>
        <dsp:cNvSpPr/>
      </dsp:nvSpPr>
      <dsp:spPr>
        <a:xfrm>
          <a:off x="0" y="2558064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 dirty="0"/>
            <a:t>Direct mail requires 21% less cognitive effort to process than digital media, says a study by market research firm True Impact. Therefore, it’s easier to understand and more memorable.</a:t>
          </a:r>
          <a:endParaRPr lang="en-US" sz="1700" kern="1200" dirty="0"/>
        </a:p>
      </dsp:txBody>
      <dsp:txXfrm>
        <a:off x="0" y="2558064"/>
        <a:ext cx="11332026" cy="639379"/>
      </dsp:txXfrm>
    </dsp:sp>
    <dsp:sp modelId="{6B7858DA-FBC5-4818-9980-4E233EE2A1BC}">
      <dsp:nvSpPr>
        <dsp:cNvPr id="0" name=""/>
        <dsp:cNvSpPr/>
      </dsp:nvSpPr>
      <dsp:spPr>
        <a:xfrm>
          <a:off x="0" y="3197444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AC60A8-D2B9-42D2-B14B-F51EA57CAC75}">
      <dsp:nvSpPr>
        <dsp:cNvPr id="0" name=""/>
        <dsp:cNvSpPr/>
      </dsp:nvSpPr>
      <dsp:spPr>
        <a:xfrm>
          <a:off x="0" y="3197444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 dirty="0"/>
            <a:t>In 2021, only 11.9% of fundraising came from online donations, according to data in the most recent Blackbaud Institute Charitable Giving Report. This means that 88% of giving comes from offline sources – like mail.</a:t>
          </a:r>
          <a:endParaRPr lang="en-US" sz="1700" kern="1200" dirty="0"/>
        </a:p>
      </dsp:txBody>
      <dsp:txXfrm>
        <a:off x="0" y="3197444"/>
        <a:ext cx="11332026" cy="639379"/>
      </dsp:txXfrm>
    </dsp:sp>
    <dsp:sp modelId="{A27963E7-572E-4E35-8585-C736E4E548E3}">
      <dsp:nvSpPr>
        <dsp:cNvPr id="0" name=""/>
        <dsp:cNvSpPr/>
      </dsp:nvSpPr>
      <dsp:spPr>
        <a:xfrm>
          <a:off x="0" y="3836823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6AD534-B217-434D-ACEA-FFEEF19BFBCF}">
      <dsp:nvSpPr>
        <dsp:cNvPr id="0" name=""/>
        <dsp:cNvSpPr/>
      </dsp:nvSpPr>
      <dsp:spPr>
        <a:xfrm>
          <a:off x="0" y="3836823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dirty="0"/>
        </a:p>
      </dsp:txBody>
      <dsp:txXfrm>
        <a:off x="0" y="3836823"/>
        <a:ext cx="11332026" cy="6393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20/02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20/02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t's becoming harder for advertisers to see who they’re talking to, measure the reaction, and plan for the fu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C1A71F-ED3E-4A54-969C-A8BBEECB2E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663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835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02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3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1.png"/><Relationship Id="rId5" Type="http://schemas.openxmlformats.org/officeDocument/2006/relationships/image" Target="../media/image4.emf"/><Relationship Id="rId4" Type="http://schemas.openxmlformats.org/officeDocument/2006/relationships/image" Target="../media/image45.pn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95243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72654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227429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152123772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7079465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107541334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83784957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45846667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107810859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-43285" y="201264"/>
            <a:ext cx="8263649" cy="577285"/>
          </a:xfrm>
          <a:prstGeom prst="rect">
            <a:avLst/>
          </a:prstGeom>
          <a:solidFill>
            <a:srgbClr val="009CDA"/>
          </a:solidFill>
        </p:spPr>
        <p:txBody>
          <a:bodyPr wrap="none" lIns="552226" tIns="38963" rIns="77925" bIns="38963">
            <a:sp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</a:t>
            </a:r>
            <a:endParaRPr lang="en-GB" dirty="0"/>
          </a:p>
        </p:txBody>
      </p:sp>
      <p:grpSp>
        <p:nvGrpSpPr>
          <p:cNvPr id="19" name="Group 18"/>
          <p:cNvGrpSpPr/>
          <p:nvPr/>
        </p:nvGrpSpPr>
        <p:grpSpPr>
          <a:xfrm>
            <a:off x="10048761" y="6615953"/>
            <a:ext cx="2086368" cy="242048"/>
            <a:chOff x="8164619" y="6615952"/>
            <a:chExt cx="1695174" cy="242048"/>
          </a:xfrm>
        </p:grpSpPr>
        <p:grpSp>
          <p:nvGrpSpPr>
            <p:cNvPr id="20" name="Group 19"/>
            <p:cNvGrpSpPr/>
            <p:nvPr/>
          </p:nvGrpSpPr>
          <p:grpSpPr>
            <a:xfrm>
              <a:off x="8164619" y="6615952"/>
              <a:ext cx="1695174" cy="242048"/>
              <a:chOff x="8164619" y="6615952"/>
              <a:chExt cx="1695174" cy="242048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8164619" y="6615952"/>
                <a:ext cx="242048" cy="242048"/>
              </a:xfrm>
              <a:prstGeom prst="rect">
                <a:avLst/>
              </a:prstGeom>
              <a:solidFill>
                <a:srgbClr val="E3211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19488"/>
                <a:endParaRPr lang="en-GB" sz="2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8406667" y="6615952"/>
                <a:ext cx="242048" cy="242048"/>
              </a:xfrm>
              <a:prstGeom prst="rect">
                <a:avLst/>
              </a:prstGeom>
              <a:solidFill>
                <a:srgbClr val="009CD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19488"/>
                <a:endParaRPr lang="en-GB" sz="2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8648714" y="6615952"/>
                <a:ext cx="242048" cy="242048"/>
              </a:xfrm>
              <a:prstGeom prst="rect">
                <a:avLst/>
              </a:prstGeom>
              <a:solidFill>
                <a:srgbClr val="EF821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19488"/>
                <a:endParaRPr lang="en-GB" sz="2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8890762" y="6615952"/>
                <a:ext cx="242048" cy="242048"/>
              </a:xfrm>
              <a:prstGeom prst="rect">
                <a:avLst/>
              </a:prstGeom>
              <a:solidFill>
                <a:srgbClr val="5082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19488"/>
                <a:endParaRPr lang="en-GB" sz="2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9132809" y="6615952"/>
                <a:ext cx="242048" cy="242048"/>
              </a:xfrm>
              <a:prstGeom prst="rect">
                <a:avLst/>
              </a:prstGeom>
              <a:solidFill>
                <a:srgbClr val="82CBD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19488"/>
                <a:endParaRPr lang="en-GB" sz="2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9617745" y="6615952"/>
                <a:ext cx="242048" cy="242048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19488"/>
                <a:endParaRPr lang="en-GB" sz="20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21" name="Rectangle 20"/>
            <p:cNvSpPr/>
            <p:nvPr/>
          </p:nvSpPr>
          <p:spPr>
            <a:xfrm>
              <a:off x="9375697" y="6615952"/>
              <a:ext cx="242048" cy="242048"/>
            </a:xfrm>
            <a:prstGeom prst="rect">
              <a:avLst/>
            </a:prstGeom>
            <a:solidFill>
              <a:srgbClr val="EEC21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9488"/>
              <a:endParaRPr lang="en-GB" sz="2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6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10744337" y="6547956"/>
            <a:ext cx="670251" cy="365125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ctr">
              <a:defRPr sz="1200" b="1">
                <a:solidFill>
                  <a:schemeClr val="bg1"/>
                </a:solidFill>
                <a:latin typeface="Arial"/>
              </a:defRPr>
            </a:lvl1pPr>
          </a:lstStyle>
          <a:p>
            <a:pPr defTabSz="519488"/>
            <a:fld id="{A74EB0F2-648F-F340-8077-1363C8DB6354}" type="slidenum">
              <a:rPr lang="en-US" smtClean="0">
                <a:solidFill>
                  <a:srgbClr val="FFFFFF"/>
                </a:solidFill>
              </a:rPr>
              <a:pPr defTabSz="519488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51549" y="1509889"/>
            <a:ext cx="10185260" cy="5084587"/>
          </a:xfrm>
          <a:prstGeom prst="rect">
            <a:avLst/>
          </a:prstGeom>
        </p:spPr>
        <p:txBody>
          <a:bodyPr vert="horz" lIns="77925" tIns="38963" rIns="77925" bIns="38963"/>
          <a:lstStyle>
            <a:lvl1pPr marL="194808" indent="-194808">
              <a:lnSpc>
                <a:spcPct val="100000"/>
              </a:lnSpc>
              <a:spcBef>
                <a:spcPts val="0"/>
              </a:spcBef>
              <a:spcAft>
                <a:spcPts val="1819"/>
              </a:spcAft>
              <a:buClr>
                <a:srgbClr val="E32119"/>
              </a:buClr>
              <a:buFont typeface="Wingdings" panose="05000000000000000000" pitchFamily="2" charset="2"/>
              <a:buChar char="§"/>
              <a:defRPr sz="1867" b="0" baseline="0">
                <a:solidFill>
                  <a:schemeClr val="tx1"/>
                </a:solidFill>
                <a:latin typeface="Arial"/>
              </a:defRPr>
            </a:lvl1pPr>
            <a:lvl2pPr marL="714297" indent="-194808">
              <a:lnSpc>
                <a:spcPct val="100000"/>
              </a:lnSpc>
              <a:spcBef>
                <a:spcPts val="0"/>
              </a:spcBef>
              <a:spcAft>
                <a:spcPts val="1819"/>
              </a:spcAft>
              <a:buClr>
                <a:srgbClr val="E32119"/>
              </a:buClr>
              <a:buFont typeface="Wingdings" panose="05000000000000000000" pitchFamily="2" charset="2"/>
              <a:buChar char="§"/>
              <a:defRPr sz="1867" b="0">
                <a:latin typeface="Arial"/>
              </a:defRPr>
            </a:lvl2pPr>
            <a:lvl3pPr marL="1363657" indent="-324680">
              <a:lnSpc>
                <a:spcPct val="100000"/>
              </a:lnSpc>
              <a:spcBef>
                <a:spcPts val="0"/>
              </a:spcBef>
              <a:spcAft>
                <a:spcPts val="1819"/>
              </a:spcAft>
              <a:buClr>
                <a:srgbClr val="E32119"/>
              </a:buClr>
              <a:buFont typeface="Wingdings" panose="05000000000000000000" pitchFamily="2" charset="2"/>
              <a:buChar char="§"/>
              <a:defRPr sz="1867" b="0">
                <a:solidFill>
                  <a:schemeClr val="tx1"/>
                </a:solidFill>
                <a:latin typeface="Arial"/>
              </a:defRPr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GB" dirty="0"/>
              <a:t>Click to add text. Hit indent button to get bullets and third level text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93628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98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391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pos="46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47AE59-3F0C-4D57-902B-123F3C22D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414000"/>
            <a:ext cx="11156400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4800" cap="all" spc="-100" baseline="0">
                <a:latin typeface="Impact" panose="020B0806030902050204" pitchFamily="34" charset="0"/>
              </a:defRPr>
            </a:lvl1pPr>
          </a:lstStyle>
          <a:p>
            <a:r>
              <a:rPr lang="en-US" dirty="0"/>
              <a:t>TEXT-ONLY SLID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D4B71E2-90C4-4B8C-8F73-BD550FDCB0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0" y="993160"/>
            <a:ext cx="11186959" cy="26722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ED4F7F-804D-4D2A-B56F-73FBA603CB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6000" y="1800000"/>
            <a:ext cx="11186959" cy="4644000"/>
          </a:xfrm>
          <a:prstGeom prst="rect">
            <a:avLst/>
          </a:prstGeom>
        </p:spPr>
        <p:txBody>
          <a:bodyPr lIns="0" tIns="0" rIns="0" bIns="0"/>
          <a:lstStyle>
            <a:lvl1pPr marL="457200" indent="-457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■"/>
              <a:defRPr lang="en-US" sz="1800" b="0" kern="1200" cap="none" baseline="0" dirty="0" smtClean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-457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■"/>
              <a:defRPr lang="en-US" sz="1800" b="0" kern="1200" cap="none" baseline="0" dirty="0" smtClean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7200" indent="-457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■"/>
              <a:defRPr lang="en-US" sz="1800" b="0" kern="1200" cap="none" baseline="0" dirty="0" smtClean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7200" indent="-457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■"/>
              <a:defRPr lang="en-US" sz="1800" b="0" kern="1200" cap="none" baseline="0" dirty="0" smtClean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7200" indent="-457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■"/>
              <a:defRPr lang="en-GB" sz="1800" b="0" kern="1200" cap="none" baseline="0" dirty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Bulle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90599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3F9A71E1-22AE-4584-98E2-319A89305C86}"/>
              </a:ext>
            </a:extLst>
          </p:cNvPr>
          <p:cNvSpPr txBox="1"/>
          <p:nvPr userDrawn="1"/>
        </p:nvSpPr>
        <p:spPr>
          <a:xfrm>
            <a:off x="6691176" y="268731"/>
            <a:ext cx="565322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How to use this slide:</a:t>
            </a:r>
          </a:p>
          <a:p>
            <a:pPr algn="l"/>
            <a:endParaRPr lang="en-GB" sz="1800" i="1" dirty="0">
              <a:solidFill>
                <a:schemeClr val="bg1">
                  <a:lumMod val="85000"/>
                </a:schemeClr>
              </a:solidFill>
            </a:endParaRP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Select &amp; paste image</a:t>
            </a: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Fit image to page</a:t>
            </a: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Right click image and select ‘send to back’ for the grey filter to be applied.</a:t>
            </a:r>
          </a:p>
        </p:txBody>
      </p:sp>
    </p:spTree>
    <p:extLst>
      <p:ext uri="{BB962C8B-B14F-4D97-AF65-F5344CB8AC3E}">
        <p14:creationId xmlns:p14="http://schemas.microsoft.com/office/powerpoint/2010/main" val="2533979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8781" y="2327983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STATEMENT HERE WITH OR WITHOUT QUOTE MARKS.”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A70B519E-F1FC-45EA-9335-27F9DE240E9F}"/>
              </a:ext>
            </a:extLst>
          </p:cNvPr>
          <p:cNvSpPr txBox="1"/>
          <p:nvPr userDrawn="1"/>
        </p:nvSpPr>
        <p:spPr>
          <a:xfrm>
            <a:off x="6691176" y="268731"/>
            <a:ext cx="565322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How to use this slide:</a:t>
            </a:r>
          </a:p>
          <a:p>
            <a:pPr algn="l"/>
            <a:endParaRPr lang="en-GB" sz="1800" i="1" dirty="0">
              <a:solidFill>
                <a:schemeClr val="bg1">
                  <a:lumMod val="85000"/>
                </a:schemeClr>
              </a:solidFill>
            </a:endParaRP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Select &amp; paste image</a:t>
            </a: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Fit image to page</a:t>
            </a: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Right click image and select ‘send to back’ for the grey filter to be applied.</a:t>
            </a:r>
          </a:p>
        </p:txBody>
      </p:sp>
    </p:spTree>
    <p:extLst>
      <p:ext uri="{BB962C8B-B14F-4D97-AF65-F5344CB8AC3E}">
        <p14:creationId xmlns:p14="http://schemas.microsoft.com/office/powerpoint/2010/main" val="3332879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7F2A013-233D-4620-B6AA-A31A571A4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6000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AC0D4679-B451-ED43-B2CD-E9661A32AF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0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.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357D1814-6C07-3F44-9A66-DF9973E577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9AE481DF-6D90-46C0-9AE0-CBDD883A0387}"/>
              </a:ext>
            </a:extLst>
          </p:cNvPr>
          <p:cNvSpPr txBox="1"/>
          <p:nvPr userDrawn="1"/>
        </p:nvSpPr>
        <p:spPr>
          <a:xfrm>
            <a:off x="6691176" y="277609"/>
            <a:ext cx="565322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How to use this slide:</a:t>
            </a:r>
          </a:p>
          <a:p>
            <a:pPr algn="l"/>
            <a:endParaRPr lang="en-GB" sz="1800" i="1" dirty="0">
              <a:solidFill>
                <a:schemeClr val="bg1">
                  <a:lumMod val="85000"/>
                </a:schemeClr>
              </a:solidFill>
            </a:endParaRP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Select &amp; paste image</a:t>
            </a: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Fit image to page</a:t>
            </a: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Right click image and select ‘send to back’ for the grey filter to be applied.</a:t>
            </a:r>
          </a:p>
        </p:txBody>
      </p:sp>
    </p:spTree>
    <p:extLst>
      <p:ext uri="{BB962C8B-B14F-4D97-AF65-F5344CB8AC3E}">
        <p14:creationId xmlns:p14="http://schemas.microsoft.com/office/powerpoint/2010/main" val="56823776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aper, Wave Cancellation M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7F2A013-233D-4620-B6AA-A31A571A4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6000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AC0D4679-B451-ED43-B2CD-E9661A32AF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0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.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357D1814-6C07-3F44-9A66-DF9973E577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C26F04-57C2-2248-8DC6-618C6D28F8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7515" y="-1000691"/>
            <a:ext cx="3151790" cy="31517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5E1B57-4D64-EE42-BE89-29349985ECA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86EED1D-BF36-40E0-9CC3-13EFDF7100E4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33424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aper, Circle Postm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7F2A013-233D-4620-B6AA-A31A571A4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6000" y="4286471"/>
            <a:ext cx="920201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AC0D4679-B451-ED43-B2CD-E9661A32AF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0" y="3891545"/>
            <a:ext cx="920201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.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357D1814-6C07-3F44-9A66-DF9973E577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6287" y="3706793"/>
            <a:ext cx="2713343" cy="322736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94685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Pap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981EA89-EEA3-CF4A-AF2E-BF7A3B7EBB56}"/>
              </a:ext>
            </a:extLst>
          </p:cNvPr>
          <p:cNvSpPr txBox="1"/>
          <p:nvPr userDrawn="1"/>
        </p:nvSpPr>
        <p:spPr>
          <a:xfrm>
            <a:off x="1613766" y="2117122"/>
            <a:ext cx="89644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3200" b="1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7F0294-6555-614E-AD30-186463CB6A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6784" y="-95809"/>
            <a:ext cx="1716911" cy="20421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4B87C8-4CA8-48B2-A305-D07818E34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334" y="2302366"/>
            <a:ext cx="8978900" cy="1571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3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“STATEMENT HERE, WITH OR WITHOUT QUOTE MARKS. STATEMENT HERE WITH OR WITHOUT QUOTE MARKS.”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35157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Paper, Contact Detail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D9460F84-08B3-9840-99D2-CEDEDA4E02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4734" y="4593479"/>
            <a:ext cx="10732139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hone number here</a:t>
            </a:r>
            <a:endParaRPr lang="en-GB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0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.</a:t>
            </a:r>
          </a:p>
        </p:txBody>
      </p:sp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C1A336C6-720A-FA49-8B57-8FA34714DE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4733" y="5009209"/>
            <a:ext cx="10732139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mail address her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FBAE3-6A08-A24D-8EAF-70F93B4B0F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000" y="4593479"/>
            <a:ext cx="230175" cy="2301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CDDC212-7A54-024E-9D8C-0EDEAB5B060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903" y="5050357"/>
            <a:ext cx="252093" cy="15948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1FCBDBE-5489-A147-9A90-C320529234E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913528" y="-615628"/>
            <a:ext cx="3430872" cy="408081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BE5676B-60B6-B34A-AB78-633DF254A7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F845C64-D444-4B85-B5EA-65D3A1BDBEA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34281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7DEE77-434D-4664-99F2-F70D85284E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A3E1B4-B0AC-4B84-A2EF-0C3DF7C47E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580A1BE-E0C8-4B29-9C3D-28F093372DD4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92222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9896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82540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307227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902517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66209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642114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2866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662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0155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4536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85430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24999962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921637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727361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394549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931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845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8183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9273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120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784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7856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2849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28555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5C234EB-3454-43CE-B3CD-063C27C7B647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XT, Image left, 2 columns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7380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194258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99899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84086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190242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60004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8572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50073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9" Type="http://schemas.openxmlformats.org/officeDocument/2006/relationships/slideLayout" Target="../slideLayouts/slideLayout98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34" Type="http://schemas.openxmlformats.org/officeDocument/2006/relationships/slideLayout" Target="../slideLayouts/slideLayout93.xml"/><Relationship Id="rId42" Type="http://schemas.openxmlformats.org/officeDocument/2006/relationships/slideLayout" Target="../slideLayouts/slideLayout101.xml"/><Relationship Id="rId47" Type="http://schemas.openxmlformats.org/officeDocument/2006/relationships/slideLayout" Target="../slideLayouts/slideLayout106.xml"/><Relationship Id="rId50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slideLayout" Target="../slideLayouts/slideLayout92.xml"/><Relationship Id="rId38" Type="http://schemas.openxmlformats.org/officeDocument/2006/relationships/slideLayout" Target="../slideLayouts/slideLayout97.xml"/><Relationship Id="rId46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41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slideLayout" Target="../slideLayouts/slideLayout91.xml"/><Relationship Id="rId37" Type="http://schemas.openxmlformats.org/officeDocument/2006/relationships/slideLayout" Target="../slideLayouts/slideLayout96.xml"/><Relationship Id="rId40" Type="http://schemas.openxmlformats.org/officeDocument/2006/relationships/slideLayout" Target="../slideLayouts/slideLayout99.xml"/><Relationship Id="rId45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36" Type="http://schemas.openxmlformats.org/officeDocument/2006/relationships/slideLayout" Target="../slideLayouts/slideLayout95.xml"/><Relationship Id="rId49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slideLayout" Target="../slideLayouts/slideLayout90.xml"/><Relationship Id="rId44" Type="http://schemas.openxmlformats.org/officeDocument/2006/relationships/slideLayout" Target="../slideLayouts/slideLayout103.xml"/><Relationship Id="rId52" Type="http://schemas.openxmlformats.org/officeDocument/2006/relationships/theme" Target="../theme/theme2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Relationship Id="rId35" Type="http://schemas.openxmlformats.org/officeDocument/2006/relationships/slideLayout" Target="../slideLayouts/slideLayout94.xml"/><Relationship Id="rId43" Type="http://schemas.openxmlformats.org/officeDocument/2006/relationships/slideLayout" Target="../slideLayouts/slideLayout102.xml"/><Relationship Id="rId48" Type="http://schemas.openxmlformats.org/officeDocument/2006/relationships/slideLayout" Target="../slideLayouts/slideLayout107.xml"/><Relationship Id="rId8" Type="http://schemas.openxmlformats.org/officeDocument/2006/relationships/slideLayout" Target="../slideLayouts/slideLayout67.xml"/><Relationship Id="rId51" Type="http://schemas.openxmlformats.org/officeDocument/2006/relationships/slideLayout" Target="../slideLayouts/slideLayout1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1682535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3" r:id="rId15"/>
    <p:sldLayoutId id="2147483884" r:id="rId16"/>
    <p:sldLayoutId id="2147483885" r:id="rId17"/>
    <p:sldLayoutId id="2147483886" r:id="rId18"/>
    <p:sldLayoutId id="2147483887" r:id="rId19"/>
    <p:sldLayoutId id="2147483888" r:id="rId20"/>
    <p:sldLayoutId id="2147483889" r:id="rId21"/>
    <p:sldLayoutId id="2147483890" r:id="rId22"/>
    <p:sldLayoutId id="2147483891" r:id="rId23"/>
    <p:sldLayoutId id="2147483892" r:id="rId24"/>
    <p:sldLayoutId id="2147483893" r:id="rId25"/>
    <p:sldLayoutId id="2147483894" r:id="rId26"/>
    <p:sldLayoutId id="2147483895" r:id="rId27"/>
    <p:sldLayoutId id="2147483896" r:id="rId28"/>
    <p:sldLayoutId id="2147483897" r:id="rId29"/>
    <p:sldLayoutId id="2147483898" r:id="rId30"/>
    <p:sldLayoutId id="2147483899" r:id="rId31"/>
    <p:sldLayoutId id="2147483900" r:id="rId32"/>
    <p:sldLayoutId id="2147483901" r:id="rId33"/>
    <p:sldLayoutId id="2147483902" r:id="rId34"/>
    <p:sldLayoutId id="2147483903" r:id="rId35"/>
    <p:sldLayoutId id="2147483904" r:id="rId36"/>
    <p:sldLayoutId id="2147483905" r:id="rId37"/>
    <p:sldLayoutId id="2147483906" r:id="rId38"/>
    <p:sldLayoutId id="2147483907" r:id="rId39"/>
    <p:sldLayoutId id="2147483908" r:id="rId40"/>
    <p:sldLayoutId id="2147483909" r:id="rId41"/>
    <p:sldLayoutId id="2147483910" r:id="rId42"/>
    <p:sldLayoutId id="2147483911" r:id="rId43"/>
    <p:sldLayoutId id="2147483912" r:id="rId44"/>
    <p:sldLayoutId id="2147483913" r:id="rId45"/>
    <p:sldLayoutId id="2147483914" r:id="rId46"/>
    <p:sldLayoutId id="2147483915" r:id="rId47"/>
    <p:sldLayoutId id="2147483916" r:id="rId48"/>
    <p:sldLayoutId id="2147483917" r:id="rId49"/>
    <p:sldLayoutId id="2147483918" r:id="rId50"/>
    <p:sldLayoutId id="2147483919" r:id="rId5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2" Type="http://schemas.openxmlformats.org/officeDocument/2006/relationships/tags" Target="../tags/tag11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image" Target="../media/image84.svg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8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90.svg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89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88.svg"/><Relationship Id="rId5" Type="http://schemas.openxmlformats.org/officeDocument/2006/relationships/tags" Target="../tags/tag31.xml"/><Relationship Id="rId10" Type="http://schemas.openxmlformats.org/officeDocument/2006/relationships/image" Target="../media/image87.png"/><Relationship Id="rId4" Type="http://schemas.openxmlformats.org/officeDocument/2006/relationships/tags" Target="../tags/tag30.xml"/><Relationship Id="rId9" Type="http://schemas.openxmlformats.org/officeDocument/2006/relationships/image" Target="../media/image86.svg"/><Relationship Id="rId14" Type="http://schemas.openxmlformats.org/officeDocument/2006/relationships/hyperlink" Target="https://www.royalmailwholesale.com/testing-and-innovation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18" Type="http://schemas.openxmlformats.org/officeDocument/2006/relationships/image" Target="../media/image65.png"/><Relationship Id="rId3" Type="http://schemas.openxmlformats.org/officeDocument/2006/relationships/tags" Target="../tags/tag3.xml"/><Relationship Id="rId21" Type="http://schemas.openxmlformats.org/officeDocument/2006/relationships/image" Target="../media/image68.pn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17" Type="http://schemas.openxmlformats.org/officeDocument/2006/relationships/image" Target="../media/image43.png"/><Relationship Id="rId2" Type="http://schemas.openxmlformats.org/officeDocument/2006/relationships/tags" Target="../tags/tag2.xml"/><Relationship Id="rId16" Type="http://schemas.openxmlformats.org/officeDocument/2006/relationships/image" Target="../media/image64.png"/><Relationship Id="rId20" Type="http://schemas.openxmlformats.org/officeDocument/2006/relationships/image" Target="../media/image67.png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59.png"/><Relationship Id="rId5" Type="http://schemas.openxmlformats.org/officeDocument/2006/relationships/slideLayout" Target="../slideLayouts/slideLayout78.xml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19" Type="http://schemas.openxmlformats.org/officeDocument/2006/relationships/image" Target="../media/image66.png"/><Relationship Id="rId4" Type="http://schemas.openxmlformats.org/officeDocument/2006/relationships/tags" Target="../tags/tag4.xml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svg"/><Relationship Id="rId7" Type="http://schemas.openxmlformats.org/officeDocument/2006/relationships/image" Target="../media/image74.sv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3.png"/><Relationship Id="rId5" Type="http://schemas.openxmlformats.org/officeDocument/2006/relationships/image" Target="../media/image72.svg"/><Relationship Id="rId4" Type="http://schemas.openxmlformats.org/officeDocument/2006/relationships/image" Target="../media/image71.png"/><Relationship Id="rId9" Type="http://schemas.openxmlformats.org/officeDocument/2006/relationships/image" Target="../media/image76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5" Type="http://schemas.openxmlformats.org/officeDocument/2006/relationships/image" Target="file:////Users/arrantindall/Library/Group%20Containers/UBF8T346G9.ms/WebArchiveCopyPasteTempFiles/com.microsoft.Word/jY+Ralsi6akAAAAASUVORK5CYII=" TargetMode="External"/><Relationship Id="rId4" Type="http://schemas.openxmlformats.org/officeDocument/2006/relationships/image" Target="../media/image8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1D005-C419-9846-4376-2FAF467B6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MAIL ACQUISITION INCENTIVE</a:t>
            </a:r>
            <a:br>
              <a:rPr lang="en-US" dirty="0"/>
            </a:br>
            <a:r>
              <a:rPr lang="en-US" dirty="0"/>
              <a:t>2025-2026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B0D66-E547-28A6-4CDE-53D45E5D7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ing an incentive to trial new acquisi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2D16E-62DD-D922-5131-62E8842B0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February 2025</a:t>
            </a:r>
          </a:p>
        </p:txBody>
      </p:sp>
    </p:spTree>
    <p:extLst>
      <p:ext uri="{BB962C8B-B14F-4D97-AF65-F5344CB8AC3E}">
        <p14:creationId xmlns:p14="http://schemas.microsoft.com/office/powerpoint/2010/main" val="2034552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953AA7-E029-D6D3-B2E1-3A9310DAF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talogues bedded in new, high-quality customer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37B86B-8B1A-DFC2-8036-91BFB855FB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8280B5-AE8C-587B-FDAF-7C72E39971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B454282-0323-1BD5-BF75-91769BE8A61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9839339" cy="4476750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GB" b="1" dirty="0"/>
              <a:t>Background</a:t>
            </a:r>
          </a:p>
          <a:p>
            <a:pPr marL="0" indent="0" algn="l">
              <a:spcBef>
                <a:spcPts val="600"/>
              </a:spcBef>
              <a:buNone/>
            </a:pPr>
            <a:r>
              <a:rPr lang="en-GB" i="0" u="none" strike="noStrike" dirty="0">
                <a:solidFill>
                  <a:srgbClr val="0D0D0D"/>
                </a:solidFill>
                <a:effectLst/>
                <a:latin typeface="Söhne"/>
              </a:rPr>
              <a:t>Piglet In Bed </a:t>
            </a:r>
            <a:r>
              <a:rPr lang="en-GB" b="0" i="0" u="none" strike="noStrike" dirty="0">
                <a:solidFill>
                  <a:srgbClr val="0D0D0D"/>
                </a:solidFill>
                <a:effectLst/>
                <a:latin typeface="Söhne"/>
              </a:rPr>
              <a:t>needed to diversify beyond paid digital channels, which were offering limited growth potential, to continue its growth trajectory. </a:t>
            </a:r>
            <a:r>
              <a:rPr lang="en-GB" dirty="0">
                <a:solidFill>
                  <a:srgbClr val="0D0D0D"/>
                </a:solidFill>
                <a:latin typeface="Söhne"/>
              </a:rPr>
              <a:t>Th</a:t>
            </a:r>
            <a:r>
              <a:rPr lang="en-GB" b="0" i="0" u="none" strike="noStrike" dirty="0">
                <a:solidFill>
                  <a:srgbClr val="0D0D0D"/>
                </a:solidFill>
                <a:effectLst/>
                <a:latin typeface="Söhne"/>
              </a:rPr>
              <a:t>ey sought to expand its customer base through new channels.</a:t>
            </a:r>
          </a:p>
          <a:p>
            <a:pPr marL="0" indent="0" algn="l">
              <a:spcBef>
                <a:spcPts val="600"/>
              </a:spcBef>
              <a:buNone/>
            </a:pPr>
            <a:r>
              <a:rPr lang="en-GB" b="1" dirty="0"/>
              <a:t>Solution</a:t>
            </a:r>
          </a:p>
          <a:p>
            <a:pPr marL="0" indent="0" algn="l">
              <a:spcBef>
                <a:spcPts val="600"/>
              </a:spcBef>
              <a:buNone/>
            </a:pPr>
            <a:r>
              <a:rPr lang="en-GB" dirty="0">
                <a:solidFill>
                  <a:srgbClr val="000000"/>
                </a:solidFill>
                <a:latin typeface="Calibri" panose="020F0502020204030204" pitchFamily="34" charset="0"/>
              </a:rPr>
              <a:t>Partnering with Epsilon, Piglet in Bed tested a</a:t>
            </a:r>
            <a:r>
              <a:rPr lang="en-GB" b="0" i="0" u="none" strike="noStrike" dirty="0">
                <a:solidFill>
                  <a:srgbClr val="0D0D0D"/>
                </a:solidFill>
                <a:effectLst/>
                <a:latin typeface="Söhne"/>
              </a:rPr>
              <a:t> catalogue for both new customer acquisition and deeper engagement with existing customers. Look-a-like modelling identified optimal prospects and mailing times. </a:t>
            </a:r>
            <a:endParaRPr lang="en-GB" dirty="0">
              <a:solidFill>
                <a:srgbClr val="0D0D0D"/>
              </a:solidFill>
              <a:latin typeface="Söhne"/>
            </a:endParaRPr>
          </a:p>
          <a:p>
            <a:pPr marL="0" indent="0" algn="l">
              <a:spcBef>
                <a:spcPts val="600"/>
              </a:spcBef>
              <a:buNone/>
            </a:pP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MS Mincho" panose="02020609040205080304" pitchFamily="49" charset="-128"/>
              </a:rPr>
              <a:t>Piglet In Bed embraced continuous testing and learning, conducting A/B testing across various areas in early campaigns</a:t>
            </a:r>
            <a:r>
              <a:rPr lang="en-GB" dirty="0">
                <a:effectLst/>
              </a:rPr>
              <a:t> </a:t>
            </a:r>
            <a:r>
              <a:rPr lang="en-GB" b="0" i="0" u="none" strike="noStrike" dirty="0">
                <a:solidFill>
                  <a:srgbClr val="0D0D0D"/>
                </a:solidFill>
                <a:effectLst/>
                <a:latin typeface="Söhne"/>
              </a:rPr>
              <a:t>(e.g. 90-day free returns policy, </a:t>
            </a:r>
            <a:r>
              <a:rPr lang="en-GB" dirty="0">
                <a:solidFill>
                  <a:srgbClr val="0D0D0D"/>
                </a:solidFill>
                <a:latin typeface="Söhne"/>
              </a:rPr>
              <a:t>showcasing the hero product</a:t>
            </a:r>
            <a:r>
              <a:rPr lang="en-GB" b="0" i="0" u="none" strike="noStrike" dirty="0">
                <a:solidFill>
                  <a:srgbClr val="0D0D0D"/>
                </a:solidFill>
                <a:effectLst/>
                <a:latin typeface="Söhne"/>
              </a:rPr>
              <a:t>) to optimise campaign effectiveness and enhance customer lifetime value (LTV) as well as drive immediate web traffic.</a:t>
            </a:r>
          </a:p>
          <a:p>
            <a:pPr marL="0" indent="0" algn="l">
              <a:spcBef>
                <a:spcPts val="600"/>
              </a:spcBef>
              <a:buNone/>
            </a:pPr>
            <a:r>
              <a:rPr lang="en-GB" dirty="0">
                <a:solidFill>
                  <a:srgbClr val="0D0D0D"/>
                </a:solidFill>
                <a:latin typeface="Söhne"/>
              </a:rPr>
              <a:t>The output was a high quality, ‘lifestyle’ catalogue that used higher quality 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MS Mincho" panose="02020609040205080304" pitchFamily="49" charset="-128"/>
              </a:rPr>
              <a:t>paper stock (validated through testing</a:t>
            </a:r>
            <a:r>
              <a:rPr lang="en-GB" sz="1800" dirty="0">
                <a:solidFill>
                  <a:srgbClr val="000000"/>
                </a:solidFill>
                <a:latin typeface="Calibri" panose="020F0502020204030204" pitchFamily="34" charset="0"/>
                <a:ea typeface="MS Mincho" panose="02020609040205080304" pitchFamily="49" charset="-128"/>
              </a:rPr>
              <a:t>).</a:t>
            </a:r>
            <a:r>
              <a:rPr lang="en-GB" b="0" i="0" u="none" strike="noStrike" dirty="0">
                <a:solidFill>
                  <a:srgbClr val="0D0D0D"/>
                </a:solidFill>
                <a:effectLst/>
                <a:latin typeface="Söhne"/>
              </a:rPr>
              <a:t> </a:t>
            </a:r>
            <a:endParaRPr lang="en-GB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GB" b="1" dirty="0"/>
              <a:t>Results</a:t>
            </a:r>
          </a:p>
          <a:p>
            <a:pPr marL="0" indent="0" fontAlgn="base">
              <a:spcBef>
                <a:spcPts val="600"/>
              </a:spcBef>
              <a:buNone/>
            </a:pP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MS Mincho" panose="02020609040205080304" pitchFamily="49" charset="-128"/>
              </a:rPr>
              <a:t>Early results showed a 25% higher average order value (AOV) and a 35% higher lifetime value (LTV) compared to digital channels over the first six months. </a:t>
            </a:r>
            <a:endParaRPr lang="en-GB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CE360B1-2AC4-CFF0-8B85-268D539BC0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</a:t>
            </a:r>
            <a:r>
              <a:rPr lang="en-US" sz="1100" dirty="0"/>
              <a:t>www.epsilon.com</a:t>
            </a:r>
            <a:r>
              <a:rPr lang="en-GB" sz="1100" dirty="0"/>
              <a:t> </a:t>
            </a:r>
          </a:p>
          <a:p>
            <a:endParaRPr lang="en-GB" dirty="0"/>
          </a:p>
        </p:txBody>
      </p:sp>
      <p:pic>
        <p:nvPicPr>
          <p:cNvPr id="7" name="Picture 6" descr="A person standing on a beach covered in a blanket&#10;&#10;Description automatically generated">
            <a:extLst>
              <a:ext uri="{FF2B5EF4-FFF2-40B4-BE49-F238E27FC236}">
                <a16:creationId xmlns:a16="http://schemas.microsoft.com/office/drawing/2014/main" id="{0971F7BC-8C27-304B-1867-E18777DC1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60822" y="3125801"/>
            <a:ext cx="1667539" cy="17874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Luxury Bedding | Sleepwear &amp; Homeware ...">
            <a:extLst>
              <a:ext uri="{FF2B5EF4-FFF2-40B4-BE49-F238E27FC236}">
                <a16:creationId xmlns:a16="http://schemas.microsoft.com/office/drawing/2014/main" id="{84812105-ECFC-3B58-893D-6748EAD0B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2177" y="2225963"/>
            <a:ext cx="1924828" cy="758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44179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A6851-FF7C-2D25-C501-C77748374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me more compelling reasons…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E6516B-A4D7-448C-F4B9-021A2B1ABF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3F86E4-8995-5B08-8D15-066CED8D63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1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D217AF-F78D-8BE5-F2D0-A62F4D471B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 Mailing.com</a:t>
            </a:r>
            <a:endParaRPr lang="en-US" sz="1100" dirty="0"/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DAB3754C-6758-6154-1674-58972B5E8DD1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564511324"/>
              </p:ext>
            </p:extLst>
          </p:nvPr>
        </p:nvGraphicFramePr>
        <p:xfrm>
          <a:off x="424544" y="1781175"/>
          <a:ext cx="11332027" cy="4476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038009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7E7BFA-DF66-0CD3-28F7-6115471A20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ncentive details</a:t>
            </a:r>
          </a:p>
        </p:txBody>
      </p:sp>
    </p:spTree>
    <p:extLst>
      <p:ext uri="{BB962C8B-B14F-4D97-AF65-F5344CB8AC3E}">
        <p14:creationId xmlns:p14="http://schemas.microsoft.com/office/powerpoint/2010/main" val="9735518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081A5-A478-D145-2BB2-8DA6D4916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C2CC5-6B8B-4F49-91A8-3BFFC1AB14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new Acquisition Mai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6ED6C1-6995-E670-A13A-3E275662EE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3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A2CEDF-07DA-3439-7D0F-EE260BAD52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3E5C96EB-98A9-757B-21B1-6B4C28257C4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CBA43C0C-E778-2EB7-4510-D4FD95BBB795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7D6E6F22-FACC-22F9-62FC-66ADD6AF5E21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B5F18B86-CE0A-F49E-64A2-DCB7478CC403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D29DB7-E512-601B-D44F-DD945F573F68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5A1DA8-158E-260C-896F-C5BAEBBADAD9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34A9FA-2B94-4F51-D6A6-FFC88528DD98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8F97C44-961B-DAF2-F03C-837B1C19D11D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 descr="Unlock">
            <a:extLst>
              <a:ext uri="{FF2B5EF4-FFF2-40B4-BE49-F238E27FC236}">
                <a16:creationId xmlns:a16="http://schemas.microsoft.com/office/drawing/2014/main" id="{74B49A3C-3885-E4E5-CE12-6B6ABDC44B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C338F08-D72A-36B4-E11A-68B299536989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5175CC-5AD5-7C51-60E1-5508F51DCFA1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of up to 20% is available on eligible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8D6E93-1C02-A633-3386-831105D32ACF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DE204C-07B3-CE71-7321-AFF8C89516C4}"/>
              </a:ext>
            </a:extLst>
          </p:cNvPr>
          <p:cNvSpPr txBox="1"/>
          <p:nvPr/>
        </p:nvSpPr>
        <p:spPr>
          <a:xfrm>
            <a:off x="6413814" y="4516926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4,000 items. The maximum test period is 5 months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B8E51F2-028E-7A40-0285-39A1650446F4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20E918-C534-C159-5EA1-BBA37997675E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22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4A37AF3-7419-BBAE-12C5-ED667B83F55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23" name="Target">
              <a:extLst>
                <a:ext uri="{FF2B5EF4-FFF2-40B4-BE49-F238E27FC236}">
                  <a16:creationId xmlns:a16="http://schemas.microsoft.com/office/drawing/2014/main" id="{B342CF42-CD52-9DFE-A9AF-B339D3A53C9F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rget">
              <a:extLst>
                <a:ext uri="{FF2B5EF4-FFF2-40B4-BE49-F238E27FC236}">
                  <a16:creationId xmlns:a16="http://schemas.microsoft.com/office/drawing/2014/main" id="{63464129-DC4A-D92F-A544-859E9D659D3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rget">
              <a:extLst>
                <a:ext uri="{FF2B5EF4-FFF2-40B4-BE49-F238E27FC236}">
                  <a16:creationId xmlns:a16="http://schemas.microsoft.com/office/drawing/2014/main" id="{9C1282D8-4B92-BB64-31EA-12864C9B4145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958014-3819-6748-3F58-12B30173D3A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27E6E0-96F8-3CCE-7B11-0182865277E2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20%</a:t>
            </a:r>
          </a:p>
        </p:txBody>
      </p:sp>
      <p:grpSp>
        <p:nvGrpSpPr>
          <p:cNvPr id="28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2028893-95EB-AB6D-21D6-9C0EF3337CE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29" name="Application">
              <a:extLst>
                <a:ext uri="{FF2B5EF4-FFF2-40B4-BE49-F238E27FC236}">
                  <a16:creationId xmlns:a16="http://schemas.microsoft.com/office/drawing/2014/main" id="{564877B2-CE9D-A176-1C94-43DF2D16661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Application">
              <a:extLst>
                <a:ext uri="{FF2B5EF4-FFF2-40B4-BE49-F238E27FC236}">
                  <a16:creationId xmlns:a16="http://schemas.microsoft.com/office/drawing/2014/main" id="{4C05AF14-C371-68BF-7D3D-85C5D460D89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Application">
              <a:extLst>
                <a:ext uri="{FF2B5EF4-FFF2-40B4-BE49-F238E27FC236}">
                  <a16:creationId xmlns:a16="http://schemas.microsoft.com/office/drawing/2014/main" id="{94549084-3922-FDE0-25CD-86558B9CE1B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pplication">
              <a:extLst>
                <a:ext uri="{FF2B5EF4-FFF2-40B4-BE49-F238E27FC236}">
                  <a16:creationId xmlns:a16="http://schemas.microsoft.com/office/drawing/2014/main" id="{AB48D44C-C6FC-17CB-91B3-8B1E88255DEE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Application">
              <a:extLst>
                <a:ext uri="{FF2B5EF4-FFF2-40B4-BE49-F238E27FC236}">
                  <a16:creationId xmlns:a16="http://schemas.microsoft.com/office/drawing/2014/main" id="{E471135B-4D66-4B53-0F71-1961FDA7921B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Application">
              <a:extLst>
                <a:ext uri="{FF2B5EF4-FFF2-40B4-BE49-F238E27FC236}">
                  <a16:creationId xmlns:a16="http://schemas.microsoft.com/office/drawing/2014/main" id="{2BAAB7BD-FE77-897F-DCE7-0B227B299311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490500C-3FB3-2B18-DE44-3B2E4833738B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new acquisition advertising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C1D7A50-F8FC-6E37-3490-B42DD97E80E5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</p:spTree>
    <p:extLst>
      <p:ext uri="{BB962C8B-B14F-4D97-AF65-F5344CB8AC3E}">
        <p14:creationId xmlns:p14="http://schemas.microsoft.com/office/powerpoint/2010/main" val="13773624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CA3A3-5C83-A276-687C-3446CB1E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A8792-4614-7E79-A6F5-6BA3654B1E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48A7B-9BBF-0BF6-7132-3D23F3B2D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4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8B8CD3-C871-0B29-3B37-81B8CC3199E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3F7095-539C-88A5-A680-C84A9045BE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FB4530B-68E8-C2AE-D50E-0343E9924E8D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E328CB-A4DC-90AA-2352-AB3527785FFB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EADC515-6C60-987A-EEDB-EB9778386D13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2AD8A90-5D94-2580-D33D-3D79F0C87D87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486BE-A84E-47EE-C44B-62FBE0372093}"/>
              </a:ext>
            </a:extLst>
          </p:cNvPr>
          <p:cNvSpPr txBox="1"/>
          <p:nvPr/>
        </p:nvSpPr>
        <p:spPr>
          <a:xfrm>
            <a:off x="807776" y="4691882"/>
            <a:ext cx="266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items sent using Advertising Mai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4B92E-2817-3233-EA2E-BF3FA17B8182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44C48-1387-6445-357E-A01212608107}"/>
              </a:ext>
            </a:extLst>
          </p:cNvPr>
          <p:cNvSpPr txBox="1"/>
          <p:nvPr/>
        </p:nvSpPr>
        <p:spPr>
          <a:xfrm>
            <a:off x="6082742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o qualify, test mailings must include a minimum of 4k advertising mail items and a maximum of 500k items over a 6 month period.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4B4045-3270-C608-512F-50A4E816320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D75804-09E5-0C27-5D9B-0FF39C51A5CF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B51F63-BD72-7461-CC14-82D2AB6D80D9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6BA74A-1867-B9A2-A2DE-F98AC5CA420C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1121CA-C790-3B83-9E78-80E454DF5961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4772008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BB2BF-1035-C8CF-F7F7-BD54F1043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A09F-D4F1-1EE8-450D-495FAA9D31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5A811-CEC6-FC03-7DB5-05E868C109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5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515413-4151-0F86-3475-F8FF74922F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66D231-43C2-2239-E4BC-BC7F0903DAA6}"/>
              </a:ext>
            </a:extLst>
          </p:cNvPr>
          <p:cNvSpPr txBox="1"/>
          <p:nvPr/>
        </p:nvSpPr>
        <p:spPr>
          <a:xfrm>
            <a:off x="3323142" y="3519203"/>
            <a:ext cx="10854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31 March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764151-B4F9-FCC4-D66F-4019BA47CB61}"/>
              </a:ext>
            </a:extLst>
          </p:cNvPr>
          <p:cNvSpPr txBox="1"/>
          <p:nvPr/>
        </p:nvSpPr>
        <p:spPr>
          <a:xfrm>
            <a:off x="2914472" y="4461137"/>
            <a:ext cx="1902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755B24-F4F0-702F-F31C-D2F02B79AE4D}"/>
              </a:ext>
            </a:extLst>
          </p:cNvPr>
          <p:cNvSpPr txBox="1"/>
          <p:nvPr/>
        </p:nvSpPr>
        <p:spPr>
          <a:xfrm>
            <a:off x="5574726" y="3519203"/>
            <a:ext cx="10854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4 March</a:t>
            </a:r>
          </a:p>
          <a:p>
            <a:pPr algn="ctr"/>
            <a:r>
              <a:rPr lang="en-GB" b="1" dirty="0"/>
              <a:t>202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86B7CB-129E-E77B-5DAF-75686DD9DE0C}"/>
              </a:ext>
            </a:extLst>
          </p:cNvPr>
          <p:cNvSpPr txBox="1"/>
          <p:nvPr/>
        </p:nvSpPr>
        <p:spPr>
          <a:xfrm>
            <a:off x="5293464" y="4461137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601EB1D-7F5A-5214-A03F-56766F99F3D7}"/>
              </a:ext>
            </a:extLst>
          </p:cNvPr>
          <p:cNvGrpSpPr/>
          <p:nvPr/>
        </p:nvGrpSpPr>
        <p:grpSpPr>
          <a:xfrm>
            <a:off x="3041880" y="2595168"/>
            <a:ext cx="1648014" cy="1808359"/>
            <a:chOff x="6761932" y="1222043"/>
            <a:chExt cx="1648014" cy="1808359"/>
          </a:xfrm>
        </p:grpSpPr>
        <p:sp>
          <p:nvSpPr>
            <p:cNvPr id="12" name="Free-form: Shape 297">
              <a:extLst>
                <a:ext uri="{FF2B5EF4-FFF2-40B4-BE49-F238E27FC236}">
                  <a16:creationId xmlns:a16="http://schemas.microsoft.com/office/drawing/2014/main" id="{51DB452B-FC7F-D167-7608-24533ADAAE35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-form: Shape 298">
              <a:extLst>
                <a:ext uri="{FF2B5EF4-FFF2-40B4-BE49-F238E27FC236}">
                  <a16:creationId xmlns:a16="http://schemas.microsoft.com/office/drawing/2014/main" id="{E0ADBA32-DD59-4BD8-6604-D46A131C6833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3B693E-3C1A-C9C1-051B-96E99302FB4A}"/>
              </a:ext>
            </a:extLst>
          </p:cNvPr>
          <p:cNvGrpSpPr/>
          <p:nvPr/>
        </p:nvGrpSpPr>
        <p:grpSpPr>
          <a:xfrm>
            <a:off x="5293464" y="2595168"/>
            <a:ext cx="1648014" cy="1808359"/>
            <a:chOff x="6761932" y="1222043"/>
            <a:chExt cx="1648014" cy="1808359"/>
          </a:xfrm>
        </p:grpSpPr>
        <p:sp>
          <p:nvSpPr>
            <p:cNvPr id="15" name="Free-form: Shape 297">
              <a:extLst>
                <a:ext uri="{FF2B5EF4-FFF2-40B4-BE49-F238E27FC236}">
                  <a16:creationId xmlns:a16="http://schemas.microsoft.com/office/drawing/2014/main" id="{DBF82459-CBF9-7F55-394C-67A9780BF078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-form: Shape 298">
              <a:extLst>
                <a:ext uri="{FF2B5EF4-FFF2-40B4-BE49-F238E27FC236}">
                  <a16:creationId xmlns:a16="http://schemas.microsoft.com/office/drawing/2014/main" id="{9FDD9C00-3D10-814F-D6E5-089478F350F9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B19CA40-D385-E83D-AADE-02CC55622F4F}"/>
              </a:ext>
            </a:extLst>
          </p:cNvPr>
          <p:cNvSpPr txBox="1"/>
          <p:nvPr/>
        </p:nvSpPr>
        <p:spPr>
          <a:xfrm>
            <a:off x="7492619" y="4458089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A80843-6459-980A-E6B0-B780EB84DCDF}"/>
              </a:ext>
            </a:extLst>
          </p:cNvPr>
          <p:cNvGrpSpPr/>
          <p:nvPr/>
        </p:nvGrpSpPr>
        <p:grpSpPr>
          <a:xfrm>
            <a:off x="7555971" y="2595168"/>
            <a:ext cx="1648014" cy="1808359"/>
            <a:chOff x="6761932" y="1222043"/>
            <a:chExt cx="1648014" cy="1808359"/>
          </a:xfrm>
        </p:grpSpPr>
        <p:sp>
          <p:nvSpPr>
            <p:cNvPr id="20" name="Free-form: Shape 297">
              <a:extLst>
                <a:ext uri="{FF2B5EF4-FFF2-40B4-BE49-F238E27FC236}">
                  <a16:creationId xmlns:a16="http://schemas.microsoft.com/office/drawing/2014/main" id="{6E206338-7DCA-192C-E14C-8513EC2D554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-form: Shape 298">
              <a:extLst>
                <a:ext uri="{FF2B5EF4-FFF2-40B4-BE49-F238E27FC236}">
                  <a16:creationId xmlns:a16="http://schemas.microsoft.com/office/drawing/2014/main" id="{416F8AA3-D77F-97E3-C0D7-FE74CC9FD6F6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9827002-F221-636A-826B-BF60448D8F42}"/>
              </a:ext>
            </a:extLst>
          </p:cNvPr>
          <p:cNvSpPr txBox="1"/>
          <p:nvPr/>
        </p:nvSpPr>
        <p:spPr>
          <a:xfrm>
            <a:off x="7837233" y="3519203"/>
            <a:ext cx="10854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28 March</a:t>
            </a:r>
          </a:p>
          <a:p>
            <a:pPr algn="ctr"/>
            <a:r>
              <a:rPr lang="en-GB" b="1" dirty="0"/>
              <a:t>2026</a:t>
            </a:r>
          </a:p>
        </p:txBody>
      </p:sp>
    </p:spTree>
    <p:extLst>
      <p:ext uri="{BB962C8B-B14F-4D97-AF65-F5344CB8AC3E}">
        <p14:creationId xmlns:p14="http://schemas.microsoft.com/office/powerpoint/2010/main" val="10775803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DB366A-4D6B-D409-7506-F15E0F985E3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6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E48BD8-0A56-0EB5-F371-34D35D536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987F5-376F-820A-98FE-D73402FE9D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9840B1-2B75-FAAD-E047-41CCDECEF9BC}"/>
              </a:ext>
            </a:extLst>
          </p:cNvPr>
          <p:cNvSpPr txBox="1"/>
          <p:nvPr/>
        </p:nvSpPr>
        <p:spPr>
          <a:xfrm>
            <a:off x="7325295" y="2487140"/>
            <a:ext cx="4367084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Get postage credit of: </a:t>
            </a:r>
          </a:p>
          <a:p>
            <a:pPr marL="457200" indent="-4572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2800" dirty="0"/>
              <a:t>20% for the first 250k incremental advertising mail items; and </a:t>
            </a:r>
          </a:p>
          <a:p>
            <a:pPr marL="457200" indent="-4572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2800" dirty="0"/>
              <a:t>10% for the next 250k incremental ite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415283-7EB2-EEE7-9B24-464A91B073CF}"/>
              </a:ext>
            </a:extLst>
          </p:cNvPr>
          <p:cNvSpPr txBox="1"/>
          <p:nvPr/>
        </p:nvSpPr>
        <p:spPr>
          <a:xfrm>
            <a:off x="6267749" y="1367459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rgbClr val="FF0000"/>
                </a:solidFill>
                <a:latin typeface="+mj-lt"/>
              </a:rPr>
              <a:t>20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4737A41-3FAF-7988-E213-D98BB4490F2A}"/>
              </a:ext>
            </a:extLst>
          </p:cNvPr>
          <p:cNvGrpSpPr/>
          <p:nvPr/>
        </p:nvGrpSpPr>
        <p:grpSpPr>
          <a:xfrm>
            <a:off x="6290497" y="2423569"/>
            <a:ext cx="1004329" cy="1005431"/>
            <a:chOff x="6711028" y="4025932"/>
            <a:chExt cx="761165" cy="762000"/>
          </a:xfrm>
        </p:grpSpPr>
        <p:sp>
          <p:nvSpPr>
            <p:cNvPr id="9" name="Discount">
              <a:extLst>
                <a:ext uri="{FF2B5EF4-FFF2-40B4-BE49-F238E27FC236}">
                  <a16:creationId xmlns:a16="http://schemas.microsoft.com/office/drawing/2014/main" id="{F1AC10D4-F743-BC27-661F-48E0B1AACDDA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" name="Percent">
              <a:extLst>
                <a:ext uri="{FF2B5EF4-FFF2-40B4-BE49-F238E27FC236}">
                  <a16:creationId xmlns:a16="http://schemas.microsoft.com/office/drawing/2014/main" id="{195F1E20-9E88-277C-E110-725DD899C46B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1" name="Percent">
                <a:extLst>
                  <a:ext uri="{FF2B5EF4-FFF2-40B4-BE49-F238E27FC236}">
                    <a16:creationId xmlns:a16="http://schemas.microsoft.com/office/drawing/2014/main" id="{CBF1B916-BE1A-2676-D4C7-B4B95FACB163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Percent">
                <a:extLst>
                  <a:ext uri="{FF2B5EF4-FFF2-40B4-BE49-F238E27FC236}">
                    <a16:creationId xmlns:a16="http://schemas.microsoft.com/office/drawing/2014/main" id="{D20CBC5B-3E28-76F4-8974-2179FF4D6E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Percent">
                <a:extLst>
                  <a:ext uri="{FF2B5EF4-FFF2-40B4-BE49-F238E27FC236}">
                    <a16:creationId xmlns:a16="http://schemas.microsoft.com/office/drawing/2014/main" id="{4BB73BF7-AD67-F42F-CC66-0DF1EB67F18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58362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F4CDD-8B55-F0A4-D2FA-2BFFF8E9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89AD00-3452-12CE-DC1F-EAA43123F8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by 28</a:t>
            </a:r>
            <a:r>
              <a:rPr lang="en-GB" baseline="30000" dirty="0"/>
              <a:t>th</a:t>
            </a:r>
            <a:r>
              <a:rPr lang="en-GB" dirty="0"/>
              <a:t> March 2026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E62A9-A6FC-9A86-71AD-978D1B92D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7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8071C5-54E5-7CA8-0248-F577EFA396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4D7529-DF39-24CF-54FF-A94DBC0E8E74}"/>
              </a:ext>
            </a:extLst>
          </p:cNvPr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08BE03A-1D17-0A82-029A-A1832C7F8CC9}"/>
              </a:ext>
            </a:extLst>
          </p:cNvPr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9A62ADB0-AEEF-FDE7-9553-F91D2B4725FC}"/>
              </a:ext>
            </a:extLst>
          </p:cNvPr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4348843F-5ED8-6E42-39BC-25BCB06513E8}"/>
              </a:ext>
            </a:extLst>
          </p:cNvPr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21900D6-2826-D88B-FC7F-82710A9B0A9E}"/>
              </a:ext>
            </a:extLst>
          </p:cNvPr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77FC33E1-99BA-ABFD-54A3-DBF7F5C1755E}"/>
              </a:ext>
            </a:extLst>
          </p:cNvPr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Block Arc 12">
            <a:extLst>
              <a:ext uri="{FF2B5EF4-FFF2-40B4-BE49-F238E27FC236}">
                <a16:creationId xmlns:a16="http://schemas.microsoft.com/office/drawing/2014/main" id="{4F96552D-24B0-9F65-0B0C-0305CA008D30}"/>
              </a:ext>
            </a:extLst>
          </p:cNvPr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9B7BA27-A5F4-B03D-87DD-8728F048BB90}"/>
              </a:ext>
            </a:extLst>
          </p:cNvPr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8453148-466B-E675-4738-4CBC3556FFE4}"/>
              </a:ext>
            </a:extLst>
          </p:cNvPr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78A4320-BD04-6EC6-8FDC-7A66DD81C13F}"/>
              </a:ext>
            </a:extLst>
          </p:cNvPr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per_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6BBEFF-A48F-D73E-5CEE-298CBEE42CD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583C147-C6AC-81A4-E598-06E7FCA781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19" name="Freeform 487">
              <a:extLst>
                <a:ext uri="{FF2B5EF4-FFF2-40B4-BE49-F238E27FC236}">
                  <a16:creationId xmlns:a16="http://schemas.microsoft.com/office/drawing/2014/main" id="{A56CF35B-558D-2911-8326-5D4BA747A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490">
              <a:extLst>
                <a:ext uri="{FF2B5EF4-FFF2-40B4-BE49-F238E27FC236}">
                  <a16:creationId xmlns:a16="http://schemas.microsoft.com/office/drawing/2014/main" id="{08964823-FE7D-71BF-DF35-C2CB5B711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491">
              <a:extLst>
                <a:ext uri="{FF2B5EF4-FFF2-40B4-BE49-F238E27FC236}">
                  <a16:creationId xmlns:a16="http://schemas.microsoft.com/office/drawing/2014/main" id="{8A89AD6C-6C68-6BAB-10B1-251368447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Graphic 21" descr="Chat RTL">
            <a:extLst>
              <a:ext uri="{FF2B5EF4-FFF2-40B4-BE49-F238E27FC236}">
                <a16:creationId xmlns:a16="http://schemas.microsoft.com/office/drawing/2014/main" id="{DF090772-A189-80C9-D709-7D8D153B82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8A8697A-B5DB-301C-B28D-88980E2F9D80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B7B21-D582-AD1F-4A4B-52534695C694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25" name="Graphic 24" descr="Internet">
            <a:extLst>
              <a:ext uri="{FF2B5EF4-FFF2-40B4-BE49-F238E27FC236}">
                <a16:creationId xmlns:a16="http://schemas.microsoft.com/office/drawing/2014/main" id="{FE31E77F-19D8-0B7B-8684-7B1AF4B9EE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29D4217-8B06-8730-8CE3-A0C42DAA104E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72E5B7-A2ED-515E-74FE-8FAC5EE5EC48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7F7D9C7-1379-A1FA-96FD-E2D43A4A0EE6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B8164D4-3E9F-7EFF-62C9-DE9F57C1E975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</a:t>
            </a:r>
          </a:p>
        </p:txBody>
      </p:sp>
      <p:sp>
        <p:nvSpPr>
          <p:cNvPr id="30" name="Block Arc 29">
            <a:extLst>
              <a:ext uri="{FF2B5EF4-FFF2-40B4-BE49-F238E27FC236}">
                <a16:creationId xmlns:a16="http://schemas.microsoft.com/office/drawing/2014/main" id="{0852CE3E-F4DF-1771-60F3-3FE0E80AC9DC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30" descr="Envelope">
            <a:extLst>
              <a:ext uri="{FF2B5EF4-FFF2-40B4-BE49-F238E27FC236}">
                <a16:creationId xmlns:a16="http://schemas.microsoft.com/office/drawing/2014/main" id="{FDC25DE2-3043-2A21-E67A-0423678BA9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B73105F3-E549-8116-68E9-EBFFCBC74C0E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3FEE62-5B03-A82A-30D6-545A175807C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34" name="Plus">
              <a:extLst>
                <a:ext uri="{FF2B5EF4-FFF2-40B4-BE49-F238E27FC236}">
                  <a16:creationId xmlns:a16="http://schemas.microsoft.com/office/drawing/2014/main" id="{37FEA078-30EC-E45C-694B-9F9BA700270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us">
              <a:extLst>
                <a:ext uri="{FF2B5EF4-FFF2-40B4-BE49-F238E27FC236}">
                  <a16:creationId xmlns:a16="http://schemas.microsoft.com/office/drawing/2014/main" id="{1AEDD5D4-1CA8-E154-0B36-766D2C8E38B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3B14C4-C1D4-8F39-3855-392989E1461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37" name="Freeform 105">
              <a:extLst>
                <a:ext uri="{FF2B5EF4-FFF2-40B4-BE49-F238E27FC236}">
                  <a16:creationId xmlns:a16="http://schemas.microsoft.com/office/drawing/2014/main" id="{0272BB4D-BD74-1E86-EE68-AF6C1EBE5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6">
              <a:extLst>
                <a:ext uri="{FF2B5EF4-FFF2-40B4-BE49-F238E27FC236}">
                  <a16:creationId xmlns:a16="http://schemas.microsoft.com/office/drawing/2014/main" id="{4A985E68-26EF-90A0-CAB5-A8BF3611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7">
              <a:extLst>
                <a:ext uri="{FF2B5EF4-FFF2-40B4-BE49-F238E27FC236}">
                  <a16:creationId xmlns:a16="http://schemas.microsoft.com/office/drawing/2014/main" id="{F02F9B5F-5332-34FD-102A-B7B35CC38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8">
              <a:extLst>
                <a:ext uri="{FF2B5EF4-FFF2-40B4-BE49-F238E27FC236}">
                  <a16:creationId xmlns:a16="http://schemas.microsoft.com/office/drawing/2014/main" id="{6849CACB-3F5C-1891-33C4-01EAD6C02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9">
              <a:extLst>
                <a:ext uri="{FF2B5EF4-FFF2-40B4-BE49-F238E27FC236}">
                  <a16:creationId xmlns:a16="http://schemas.microsoft.com/office/drawing/2014/main" id="{F582A16A-C9AD-09E8-62E0-C94A78D58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10">
              <a:extLst>
                <a:ext uri="{FF2B5EF4-FFF2-40B4-BE49-F238E27FC236}">
                  <a16:creationId xmlns:a16="http://schemas.microsoft.com/office/drawing/2014/main" id="{7FC20B91-2CE7-BF27-3FBD-AD4B4415D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11">
              <a:extLst>
                <a:ext uri="{FF2B5EF4-FFF2-40B4-BE49-F238E27FC236}">
                  <a16:creationId xmlns:a16="http://schemas.microsoft.com/office/drawing/2014/main" id="{B46255EE-C6AA-42EA-FE31-B31DE9AD8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id="{90FD0DA1-77AC-498C-180A-C8CE4250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3">
              <a:extLst>
                <a:ext uri="{FF2B5EF4-FFF2-40B4-BE49-F238E27FC236}">
                  <a16:creationId xmlns:a16="http://schemas.microsoft.com/office/drawing/2014/main" id="{C3E700F9-647F-D069-8EEB-E03A82739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14">
              <a:extLst>
                <a:ext uri="{FF2B5EF4-FFF2-40B4-BE49-F238E27FC236}">
                  <a16:creationId xmlns:a16="http://schemas.microsoft.com/office/drawing/2014/main" id="{22192775-135A-19E6-2FB8-D005A99E9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Action Button: Go to End 46">
            <a:hlinkClick r:id="rId14" highlightClick="1"/>
            <a:extLst>
              <a:ext uri="{FF2B5EF4-FFF2-40B4-BE49-F238E27FC236}">
                <a16:creationId xmlns:a16="http://schemas.microsoft.com/office/drawing/2014/main" id="{9A4A8D39-A647-4B03-2127-9EF9A1BBF7BE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BD6344B-05FE-6BD6-8C7C-263E21BCE5CF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2533086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FFB8FB2-09D2-7923-7D73-7005CC308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800" dirty="0"/>
              <a:t>Why are you testing?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8726A-627C-4AA2-C6C3-E66EED7CF8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you tell us about the objectives and strategy for your new acquisition activity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marketing plan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including mail in your acquisition now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returning to mail for acquisition after a break?</a:t>
            </a:r>
          </a:p>
          <a:p>
            <a:endParaRPr lang="en-GB" sz="16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77ED36C-FDDE-2C48-DF85-F64FE9D2F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33AD93-2A5F-658E-3F18-D529BB3AB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sz="2800" dirty="0"/>
              <a:t>How are you measuring the results?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67E108F-0AAA-5611-1B7F-B56D7170C1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800" dirty="0"/>
              <a:t>What are the details of the test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F642EF-4851-D2A8-508D-09D4BCD7C96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? existing customer base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5749DE-C148-7929-ECD1-C46089B824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, ROI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push to store or other softer brand measures, for example?</a:t>
            </a:r>
          </a:p>
          <a:p>
            <a:endParaRPr lang="en-GB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BF5C59-D957-7271-8BCA-21E19BB3517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8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7FCEF-501D-11A0-F66D-39C8A3E7E0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more information you can provide will help us process your appli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A7742C-AC5C-A60A-867E-A4E3BBE7DD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4596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6E622B8-6829-3174-C598-D039DF8A6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BB3B99E-118A-8E88-6223-62515E3008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2FC1F5-43A1-C00D-3B29-F44EB346C0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9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CB50A88-E04A-7627-26E1-A38E7A781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7E967C-46F6-D2AC-97EC-74F4DC528228}"/>
              </a:ext>
            </a:extLst>
          </p:cNvPr>
          <p:cNvSpPr/>
          <p:nvPr/>
        </p:nvSpPr>
        <p:spPr>
          <a:xfrm>
            <a:off x="1050534" y="2499688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CDF65E-0872-C40A-5A41-CCF1ED810017}"/>
              </a:ext>
            </a:extLst>
          </p:cNvPr>
          <p:cNvSpPr/>
          <p:nvPr/>
        </p:nvSpPr>
        <p:spPr>
          <a:xfrm>
            <a:off x="4855735" y="249968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 Piece Mailer Guide for options to use with incentives at www.royalmailwholesale.com/incentiv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408AC29-7B9B-0B87-6CA9-3AF952C432F1}"/>
              </a:ext>
            </a:extLst>
          </p:cNvPr>
          <p:cNvSpPr/>
          <p:nvPr/>
        </p:nvSpPr>
        <p:spPr>
          <a:xfrm>
            <a:off x="1050534" y="3286730"/>
            <a:ext cx="3805200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my actual TIS volume is less than 4,000  items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A244CE-7A8D-EF53-081E-DB51A0AF1942}"/>
              </a:ext>
            </a:extLst>
          </p:cNvPr>
          <p:cNvSpPr/>
          <p:nvPr/>
        </p:nvSpPr>
        <p:spPr>
          <a:xfrm>
            <a:off x="4855735" y="3286730"/>
            <a:ext cx="6527748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receive any postage credit if your actual TIS volume is less than 4,000 mailing items.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152723-5813-AB34-FD19-B3B369932435}"/>
              </a:ext>
            </a:extLst>
          </p:cNvPr>
          <p:cNvSpPr/>
          <p:nvPr/>
        </p:nvSpPr>
        <p:spPr>
          <a:xfrm>
            <a:off x="1050534" y="4084282"/>
            <a:ext cx="3805200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C3EC50-50BB-DFB8-7788-FF2DF6EDD741}"/>
              </a:ext>
            </a:extLst>
          </p:cNvPr>
          <p:cNvSpPr/>
          <p:nvPr/>
        </p:nvSpPr>
        <p:spPr>
          <a:xfrm>
            <a:off x="4855735" y="4084282"/>
            <a:ext cx="6527748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4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71034A-9293-3AC5-F251-97205FA7C91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99636" y="2655207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5" name="Help">
              <a:extLst>
                <a:ext uri="{FF2B5EF4-FFF2-40B4-BE49-F238E27FC236}">
                  <a16:creationId xmlns:a16="http://schemas.microsoft.com/office/drawing/2014/main" id="{31143841-5C00-E870-1D89-CFAEE610FE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Help">
              <a:extLst>
                <a:ext uri="{FF2B5EF4-FFF2-40B4-BE49-F238E27FC236}">
                  <a16:creationId xmlns:a16="http://schemas.microsoft.com/office/drawing/2014/main" id="{689E05CC-AB16-777F-2083-3D37EE72BCBB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61821D1A-F83C-DDB6-D547-2D721DB8EBF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0043B40-B2ED-7E5B-22BE-C150FEB19C5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9636" y="3438226"/>
            <a:ext cx="541434" cy="542925"/>
            <a:chOff x="44" y="44"/>
            <a:chExt cx="363" cy="364"/>
          </a:xfrm>
          <a:solidFill>
            <a:schemeClr val="accent2"/>
          </a:solidFill>
        </p:grpSpPr>
        <p:sp>
          <p:nvSpPr>
            <p:cNvPr id="29" name="Help">
              <a:extLst>
                <a:ext uri="{FF2B5EF4-FFF2-40B4-BE49-F238E27FC236}">
                  <a16:creationId xmlns:a16="http://schemas.microsoft.com/office/drawing/2014/main" id="{70E3E9F8-00C2-F4BE-93F1-5F4BDBCF5D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Help">
              <a:extLst>
                <a:ext uri="{FF2B5EF4-FFF2-40B4-BE49-F238E27FC236}">
                  <a16:creationId xmlns:a16="http://schemas.microsoft.com/office/drawing/2014/main" id="{E8114257-C533-05F1-E6E3-F6497C6E4C97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4FCD5282-34B5-B97D-8933-552BDB43A06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E67287-0CE3-4A34-30D9-77F7F1F4FC6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99636" y="4221246"/>
            <a:ext cx="541434" cy="542925"/>
            <a:chOff x="44" y="44"/>
            <a:chExt cx="363" cy="364"/>
          </a:xfrm>
          <a:solidFill>
            <a:schemeClr val="accent3"/>
          </a:solidFill>
        </p:grpSpPr>
        <p:sp>
          <p:nvSpPr>
            <p:cNvPr id="33" name="Help">
              <a:extLst>
                <a:ext uri="{FF2B5EF4-FFF2-40B4-BE49-F238E27FC236}">
                  <a16:creationId xmlns:a16="http://schemas.microsoft.com/office/drawing/2014/main" id="{3118CAFD-7202-5408-5413-4B22D15897F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Help">
              <a:extLst>
                <a:ext uri="{FF2B5EF4-FFF2-40B4-BE49-F238E27FC236}">
                  <a16:creationId xmlns:a16="http://schemas.microsoft.com/office/drawing/2014/main" id="{F14AC029-92B0-8DB3-B5AD-D9CFBB288D8A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5DD683EB-E957-59A6-5DF7-A9F13411FB1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34466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chemeClr val="bg2">
                <a:lumMod val="7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D95560-B2CE-4483-A06F-423D30CA06A9}"/>
              </a:ext>
            </a:extLst>
          </p:cNvPr>
          <p:cNvCxnSpPr>
            <a:cxnSpLocks/>
          </p:cNvCxnSpPr>
          <p:nvPr/>
        </p:nvCxnSpPr>
        <p:spPr>
          <a:xfrm flipH="1">
            <a:off x="342636" y="-136518"/>
            <a:ext cx="11733750" cy="703656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EAA777D-2DA0-4ACD-8655-DACB421DAA70}"/>
              </a:ext>
            </a:extLst>
          </p:cNvPr>
          <p:cNvCxnSpPr>
            <a:cxnSpLocks/>
          </p:cNvCxnSpPr>
          <p:nvPr/>
        </p:nvCxnSpPr>
        <p:spPr>
          <a:xfrm flipH="1">
            <a:off x="3396691" y="13212"/>
            <a:ext cx="5600165" cy="688683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31BE37-2A1C-4B0E-A306-808CA440536E}"/>
              </a:ext>
            </a:extLst>
          </p:cNvPr>
          <p:cNvCxnSpPr>
            <a:cxnSpLocks/>
          </p:cNvCxnSpPr>
          <p:nvPr/>
        </p:nvCxnSpPr>
        <p:spPr>
          <a:xfrm flipH="1">
            <a:off x="4971394" y="-136518"/>
            <a:ext cx="2511972" cy="722049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4D36BC-B63E-4110-96A4-8E21F273F2C9}"/>
              </a:ext>
            </a:extLst>
          </p:cNvPr>
          <p:cNvCxnSpPr>
            <a:cxnSpLocks/>
          </p:cNvCxnSpPr>
          <p:nvPr/>
        </p:nvCxnSpPr>
        <p:spPr>
          <a:xfrm flipH="1">
            <a:off x="6285187" y="-31532"/>
            <a:ext cx="1" cy="6931574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2450AB-8CA4-469B-A47E-21E7C38ABF60}"/>
              </a:ext>
            </a:extLst>
          </p:cNvPr>
          <p:cNvCxnSpPr>
            <a:cxnSpLocks/>
          </p:cNvCxnSpPr>
          <p:nvPr/>
        </p:nvCxnSpPr>
        <p:spPr>
          <a:xfrm>
            <a:off x="4951608" y="-228292"/>
            <a:ext cx="2766752" cy="7312264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F5D136E-2529-4FAC-8AA2-E1B2415F493D}"/>
              </a:ext>
            </a:extLst>
          </p:cNvPr>
          <p:cNvCxnSpPr>
            <a:cxnSpLocks/>
          </p:cNvCxnSpPr>
          <p:nvPr/>
        </p:nvCxnSpPr>
        <p:spPr>
          <a:xfrm>
            <a:off x="-40494" y="2240426"/>
            <a:ext cx="12232494" cy="2111556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A2C2DF-597C-4CB4-9759-BFCFC25E905B}"/>
              </a:ext>
            </a:extLst>
          </p:cNvPr>
          <p:cNvCxnSpPr>
            <a:cxnSpLocks/>
          </p:cNvCxnSpPr>
          <p:nvPr/>
        </p:nvCxnSpPr>
        <p:spPr>
          <a:xfrm flipV="1">
            <a:off x="-178653" y="2188452"/>
            <a:ext cx="12706984" cy="2296066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FFBD1A4-B21A-400B-8578-A8ADB3716ABA}"/>
              </a:ext>
            </a:extLst>
          </p:cNvPr>
          <p:cNvCxnSpPr>
            <a:cxnSpLocks/>
          </p:cNvCxnSpPr>
          <p:nvPr/>
        </p:nvCxnSpPr>
        <p:spPr>
          <a:xfrm>
            <a:off x="378373" y="-31532"/>
            <a:ext cx="11950262" cy="6784546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549D35-F394-47A5-8951-5E2736BABA5D}"/>
              </a:ext>
            </a:extLst>
          </p:cNvPr>
          <p:cNvCxnSpPr>
            <a:cxnSpLocks/>
          </p:cNvCxnSpPr>
          <p:nvPr/>
        </p:nvCxnSpPr>
        <p:spPr>
          <a:xfrm>
            <a:off x="3239037" y="-210207"/>
            <a:ext cx="6092893" cy="711024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ha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CD27123-D7E8-48C6-87C9-738A8CE6DC61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5766055" y="1085200"/>
            <a:ext cx="371792" cy="391026"/>
          </a:xfrm>
          <a:custGeom>
            <a:avLst/>
            <a:gdLst>
              <a:gd name="T0" fmla="*/ 467 w 667"/>
              <a:gd name="T1" fmla="*/ 333 h 700"/>
              <a:gd name="T2" fmla="*/ 433 w 667"/>
              <a:gd name="T3" fmla="*/ 300 h 700"/>
              <a:gd name="T4" fmla="*/ 467 w 667"/>
              <a:gd name="T5" fmla="*/ 267 h 700"/>
              <a:gd name="T6" fmla="*/ 500 w 667"/>
              <a:gd name="T7" fmla="*/ 300 h 700"/>
              <a:gd name="T8" fmla="*/ 467 w 667"/>
              <a:gd name="T9" fmla="*/ 333 h 700"/>
              <a:gd name="T10" fmla="*/ 333 w 667"/>
              <a:gd name="T11" fmla="*/ 333 h 700"/>
              <a:gd name="T12" fmla="*/ 300 w 667"/>
              <a:gd name="T13" fmla="*/ 300 h 700"/>
              <a:gd name="T14" fmla="*/ 333 w 667"/>
              <a:gd name="T15" fmla="*/ 267 h 700"/>
              <a:gd name="T16" fmla="*/ 367 w 667"/>
              <a:gd name="T17" fmla="*/ 300 h 700"/>
              <a:gd name="T18" fmla="*/ 333 w 667"/>
              <a:gd name="T19" fmla="*/ 333 h 700"/>
              <a:gd name="T20" fmla="*/ 200 w 667"/>
              <a:gd name="T21" fmla="*/ 333 h 700"/>
              <a:gd name="T22" fmla="*/ 167 w 667"/>
              <a:gd name="T23" fmla="*/ 300 h 700"/>
              <a:gd name="T24" fmla="*/ 200 w 667"/>
              <a:gd name="T25" fmla="*/ 267 h 700"/>
              <a:gd name="T26" fmla="*/ 233 w 667"/>
              <a:gd name="T27" fmla="*/ 300 h 700"/>
              <a:gd name="T28" fmla="*/ 200 w 667"/>
              <a:gd name="T29" fmla="*/ 333 h 700"/>
              <a:gd name="T30" fmla="*/ 333 w 667"/>
              <a:gd name="T31" fmla="*/ 0 h 700"/>
              <a:gd name="T32" fmla="*/ 0 w 667"/>
              <a:gd name="T33" fmla="*/ 300 h 700"/>
              <a:gd name="T34" fmla="*/ 313 w 667"/>
              <a:gd name="T35" fmla="*/ 599 h 700"/>
              <a:gd name="T36" fmla="*/ 333 w 667"/>
              <a:gd name="T37" fmla="*/ 700 h 700"/>
              <a:gd name="T38" fmla="*/ 494 w 667"/>
              <a:gd name="T39" fmla="*/ 563 h 700"/>
              <a:gd name="T40" fmla="*/ 667 w 667"/>
              <a:gd name="T41" fmla="*/ 300 h 700"/>
              <a:gd name="T42" fmla="*/ 333 w 667"/>
              <a:gd name="T43" fmla="*/ 0 h 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67" h="700">
                <a:moveTo>
                  <a:pt x="467" y="333"/>
                </a:moveTo>
                <a:cubicBezTo>
                  <a:pt x="448" y="333"/>
                  <a:pt x="433" y="318"/>
                  <a:pt x="433" y="300"/>
                </a:cubicBezTo>
                <a:cubicBezTo>
                  <a:pt x="433" y="282"/>
                  <a:pt x="448" y="267"/>
                  <a:pt x="467" y="267"/>
                </a:cubicBezTo>
                <a:cubicBezTo>
                  <a:pt x="485" y="267"/>
                  <a:pt x="500" y="282"/>
                  <a:pt x="500" y="300"/>
                </a:cubicBezTo>
                <a:cubicBezTo>
                  <a:pt x="500" y="318"/>
                  <a:pt x="485" y="333"/>
                  <a:pt x="467" y="333"/>
                </a:cubicBezTo>
                <a:close/>
                <a:moveTo>
                  <a:pt x="333" y="333"/>
                </a:moveTo>
                <a:cubicBezTo>
                  <a:pt x="315" y="333"/>
                  <a:pt x="300" y="318"/>
                  <a:pt x="300" y="300"/>
                </a:cubicBezTo>
                <a:cubicBezTo>
                  <a:pt x="300" y="282"/>
                  <a:pt x="315" y="267"/>
                  <a:pt x="333" y="267"/>
                </a:cubicBezTo>
                <a:cubicBezTo>
                  <a:pt x="352" y="267"/>
                  <a:pt x="367" y="282"/>
                  <a:pt x="367" y="300"/>
                </a:cubicBezTo>
                <a:cubicBezTo>
                  <a:pt x="367" y="318"/>
                  <a:pt x="352" y="333"/>
                  <a:pt x="333" y="333"/>
                </a:cubicBezTo>
                <a:close/>
                <a:moveTo>
                  <a:pt x="200" y="333"/>
                </a:moveTo>
                <a:cubicBezTo>
                  <a:pt x="182" y="333"/>
                  <a:pt x="167" y="318"/>
                  <a:pt x="167" y="300"/>
                </a:cubicBezTo>
                <a:cubicBezTo>
                  <a:pt x="167" y="282"/>
                  <a:pt x="182" y="267"/>
                  <a:pt x="200" y="267"/>
                </a:cubicBezTo>
                <a:cubicBezTo>
                  <a:pt x="218" y="267"/>
                  <a:pt x="233" y="282"/>
                  <a:pt x="233" y="300"/>
                </a:cubicBezTo>
                <a:cubicBezTo>
                  <a:pt x="233" y="318"/>
                  <a:pt x="218" y="333"/>
                  <a:pt x="200" y="333"/>
                </a:cubicBezTo>
                <a:close/>
                <a:moveTo>
                  <a:pt x="333" y="0"/>
                </a:moveTo>
                <a:cubicBezTo>
                  <a:pt x="149" y="0"/>
                  <a:pt x="0" y="134"/>
                  <a:pt x="0" y="300"/>
                </a:cubicBezTo>
                <a:cubicBezTo>
                  <a:pt x="0" y="459"/>
                  <a:pt x="138" y="590"/>
                  <a:pt x="313" y="599"/>
                </a:cubicBezTo>
                <a:cubicBezTo>
                  <a:pt x="324" y="660"/>
                  <a:pt x="333" y="700"/>
                  <a:pt x="333" y="700"/>
                </a:cubicBezTo>
                <a:cubicBezTo>
                  <a:pt x="333" y="700"/>
                  <a:pt x="417" y="649"/>
                  <a:pt x="494" y="563"/>
                </a:cubicBezTo>
                <a:cubicBezTo>
                  <a:pt x="597" y="512"/>
                  <a:pt x="667" y="413"/>
                  <a:pt x="667" y="300"/>
                </a:cubicBezTo>
                <a:cubicBezTo>
                  <a:pt x="667" y="134"/>
                  <a:pt x="517" y="0"/>
                  <a:pt x="333" y="0"/>
                </a:cubicBezTo>
                <a:close/>
              </a:path>
            </a:pathLst>
          </a:custGeom>
          <a:noFill/>
          <a:ln w="19050">
            <a:solidFill>
              <a:schemeClr val="tx2">
                <a:lumMod val="75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25DCCCD-B95A-4504-B1CF-60272A5568F7}"/>
              </a:ext>
            </a:extLst>
          </p:cNvPr>
          <p:cNvGrpSpPr/>
          <p:nvPr/>
        </p:nvGrpSpPr>
        <p:grpSpPr>
          <a:xfrm>
            <a:off x="5674127" y="5153071"/>
            <a:ext cx="487851" cy="487851"/>
            <a:chOff x="4332379" y="4582690"/>
            <a:chExt cx="487851" cy="487851"/>
          </a:xfrm>
        </p:grpSpPr>
        <p:pic>
          <p:nvPicPr>
            <p:cNvPr id="49" name="Picture 2" descr="Snapchat logo PNG PNG image. You can download PNG image Snapchat logo PNG,  free PNG image, Snapchat logo PNG PNG | Snapchat logo, Snapchat icon,  Iphone photo app">
              <a:extLst>
                <a:ext uri="{FF2B5EF4-FFF2-40B4-BE49-F238E27FC236}">
                  <a16:creationId xmlns:a16="http://schemas.microsoft.com/office/drawing/2014/main" id="{50F25559-C56E-45B3-ACED-E72AAEEF43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93" y="4637808"/>
              <a:ext cx="393022" cy="3930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1C630558-F08F-44A7-9DC5-D1F96DAECE73}"/>
                </a:ext>
              </a:extLst>
            </p:cNvPr>
            <p:cNvSpPr/>
            <p:nvPr/>
          </p:nvSpPr>
          <p:spPr>
            <a:xfrm>
              <a:off x="4332379" y="4582690"/>
              <a:ext cx="487851" cy="487851"/>
            </a:xfrm>
            <a:prstGeom prst="ellipse">
              <a:avLst/>
            </a:prstGeom>
            <a:noFill/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076" name="Picture 4">
            <a:extLst>
              <a:ext uri="{FF2B5EF4-FFF2-40B4-BE49-F238E27FC236}">
                <a16:creationId xmlns:a16="http://schemas.microsoft.com/office/drawing/2014/main" id="{1D875B47-64CE-453D-A544-E8E76F583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62837" y="3071432"/>
            <a:ext cx="47175" cy="48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Facebook Logo PNG Images | FB Icons PNG For Free Download - Pngtree">
            <a:extLst>
              <a:ext uri="{FF2B5EF4-FFF2-40B4-BE49-F238E27FC236}">
                <a16:creationId xmlns:a16="http://schemas.microsoft.com/office/drawing/2014/main" id="{73F143F8-F314-4EA2-B527-CF59A9E35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7634" y="1706812"/>
            <a:ext cx="463363" cy="463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>
            <a:extLst>
              <a:ext uri="{FF2B5EF4-FFF2-40B4-BE49-F238E27FC236}">
                <a16:creationId xmlns:a16="http://schemas.microsoft.com/office/drawing/2014/main" id="{3273BF2D-3F5E-4A17-9AA3-4B0CAA9181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66211" y="3868421"/>
            <a:ext cx="450109" cy="450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4" name="Picture 52">
            <a:extLst>
              <a:ext uri="{FF2B5EF4-FFF2-40B4-BE49-F238E27FC236}">
                <a16:creationId xmlns:a16="http://schemas.microsoft.com/office/drawing/2014/main" id="{4F4765D0-26DB-46E0-9E31-888401BBF3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6689" y="3087377"/>
            <a:ext cx="475556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6" name="Picture 54">
            <a:extLst>
              <a:ext uri="{FF2B5EF4-FFF2-40B4-BE49-F238E27FC236}">
                <a16:creationId xmlns:a16="http://schemas.microsoft.com/office/drawing/2014/main" id="{A35A0F3F-378D-4D66-AA90-919C7AF646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6952" y="3133462"/>
            <a:ext cx="422716" cy="422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2" name="Picture 70" descr="TikTok App Icon Logo PNG Vector (SVG) Free Download">
            <a:extLst>
              <a:ext uri="{FF2B5EF4-FFF2-40B4-BE49-F238E27FC236}">
                <a16:creationId xmlns:a16="http://schemas.microsoft.com/office/drawing/2014/main" id="{D2081318-99BE-44FB-9E74-C7DA2644D8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10233" y="5065294"/>
            <a:ext cx="386135" cy="386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6" name="Picture 74" descr="Google Logo - Free Vectors &amp; PSDs to Download">
            <a:extLst>
              <a:ext uri="{FF2B5EF4-FFF2-40B4-BE49-F238E27FC236}">
                <a16:creationId xmlns:a16="http://schemas.microsoft.com/office/drawing/2014/main" id="{38E0C3E9-2B26-44BA-A16A-F79E418AEE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13906" y="1866573"/>
            <a:ext cx="371991" cy="371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66" name="Picture 94" descr="Circle Youtube Icon transparent PNG - StickPNG">
            <a:extLst>
              <a:ext uri="{FF2B5EF4-FFF2-40B4-BE49-F238E27FC236}">
                <a16:creationId xmlns:a16="http://schemas.microsoft.com/office/drawing/2014/main" id="{D5376100-0EAE-4C8B-8069-C4DD9AF347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00682" y="4865261"/>
            <a:ext cx="450109" cy="450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0" name="Picture 98" descr="Netflix Logo Png - Free Transparent PNG Logos">
            <a:extLst>
              <a:ext uri="{FF2B5EF4-FFF2-40B4-BE49-F238E27FC236}">
                <a16:creationId xmlns:a16="http://schemas.microsoft.com/office/drawing/2014/main" id="{32494C01-AB86-442E-B5F1-2CAC649D32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0411" y="4575794"/>
            <a:ext cx="622966" cy="467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45667602-BD04-4B4E-A32A-20922F580545}"/>
              </a:ext>
            </a:extLst>
          </p:cNvPr>
          <p:cNvSpPr/>
          <p:nvPr/>
        </p:nvSpPr>
        <p:spPr>
          <a:xfrm>
            <a:off x="4315929" y="1522598"/>
            <a:ext cx="3560143" cy="35601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2" name="Alarm_cloc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895725D-4D80-4CFA-96F4-BB7287DC46E5}"/>
              </a:ext>
            </a:extLst>
          </p:cNvPr>
          <p:cNvGrpSpPr>
            <a:grpSpLocks noChangeAspect="1"/>
          </p:cNvGrpSpPr>
          <p:nvPr/>
        </p:nvGrpSpPr>
        <p:grpSpPr>
          <a:xfrm>
            <a:off x="5682991" y="1958696"/>
            <a:ext cx="826018" cy="796293"/>
            <a:chOff x="8221663" y="4583113"/>
            <a:chExt cx="662000" cy="638178"/>
          </a:xfrm>
          <a:solidFill>
            <a:schemeClr val="bg1"/>
          </a:solidFill>
        </p:grpSpPr>
        <p:sp>
          <p:nvSpPr>
            <p:cNvPr id="63" name="Freeform 216">
              <a:extLst>
                <a:ext uri="{FF2B5EF4-FFF2-40B4-BE49-F238E27FC236}">
                  <a16:creationId xmlns:a16="http://schemas.microsoft.com/office/drawing/2014/main" id="{B8185902-A7D4-4A78-8A20-1269F386E0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39144" y="4700591"/>
              <a:ext cx="425450" cy="425450"/>
            </a:xfrm>
            <a:custGeom>
              <a:avLst/>
              <a:gdLst>
                <a:gd name="T0" fmla="*/ 357 w 713"/>
                <a:gd name="T1" fmla="*/ 680 h 713"/>
                <a:gd name="T2" fmla="*/ 33 w 713"/>
                <a:gd name="T3" fmla="*/ 356 h 713"/>
                <a:gd name="T4" fmla="*/ 357 w 713"/>
                <a:gd name="T5" fmla="*/ 33 h 713"/>
                <a:gd name="T6" fmla="*/ 680 w 713"/>
                <a:gd name="T7" fmla="*/ 356 h 713"/>
                <a:gd name="T8" fmla="*/ 357 w 713"/>
                <a:gd name="T9" fmla="*/ 680 h 713"/>
                <a:gd name="T10" fmla="*/ 357 w 713"/>
                <a:gd name="T11" fmla="*/ 0 h 713"/>
                <a:gd name="T12" fmla="*/ 0 w 713"/>
                <a:gd name="T13" fmla="*/ 356 h 713"/>
                <a:gd name="T14" fmla="*/ 357 w 713"/>
                <a:gd name="T15" fmla="*/ 713 h 713"/>
                <a:gd name="T16" fmla="*/ 713 w 713"/>
                <a:gd name="T17" fmla="*/ 356 h 713"/>
                <a:gd name="T18" fmla="*/ 357 w 713"/>
                <a:gd name="T19" fmla="*/ 0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3" h="713">
                  <a:moveTo>
                    <a:pt x="357" y="680"/>
                  </a:moveTo>
                  <a:cubicBezTo>
                    <a:pt x="178" y="680"/>
                    <a:pt x="33" y="535"/>
                    <a:pt x="33" y="356"/>
                  </a:cubicBezTo>
                  <a:cubicBezTo>
                    <a:pt x="33" y="178"/>
                    <a:pt x="178" y="33"/>
                    <a:pt x="357" y="33"/>
                  </a:cubicBezTo>
                  <a:cubicBezTo>
                    <a:pt x="535" y="33"/>
                    <a:pt x="680" y="178"/>
                    <a:pt x="680" y="356"/>
                  </a:cubicBezTo>
                  <a:cubicBezTo>
                    <a:pt x="680" y="535"/>
                    <a:pt x="535" y="680"/>
                    <a:pt x="357" y="680"/>
                  </a:cubicBezTo>
                  <a:close/>
                  <a:moveTo>
                    <a:pt x="357" y="0"/>
                  </a:moveTo>
                  <a:cubicBezTo>
                    <a:pt x="160" y="0"/>
                    <a:pt x="0" y="160"/>
                    <a:pt x="0" y="356"/>
                  </a:cubicBezTo>
                  <a:cubicBezTo>
                    <a:pt x="0" y="553"/>
                    <a:pt x="160" y="713"/>
                    <a:pt x="357" y="713"/>
                  </a:cubicBezTo>
                  <a:cubicBezTo>
                    <a:pt x="553" y="713"/>
                    <a:pt x="713" y="553"/>
                    <a:pt x="713" y="356"/>
                  </a:cubicBezTo>
                  <a:cubicBezTo>
                    <a:pt x="713" y="160"/>
                    <a:pt x="553" y="0"/>
                    <a:pt x="35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217">
              <a:extLst>
                <a:ext uri="{FF2B5EF4-FFF2-40B4-BE49-F238E27FC236}">
                  <a16:creationId xmlns:a16="http://schemas.microsoft.com/office/drawing/2014/main" id="{65C30A47-BA00-4D62-97BE-60E87A21BE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4694" y="4656140"/>
              <a:ext cx="514350" cy="565151"/>
            </a:xfrm>
            <a:custGeom>
              <a:avLst/>
              <a:gdLst>
                <a:gd name="T0" fmla="*/ 431 w 861"/>
                <a:gd name="T1" fmla="*/ 827 h 946"/>
                <a:gd name="T2" fmla="*/ 34 w 861"/>
                <a:gd name="T3" fmla="*/ 430 h 946"/>
                <a:gd name="T4" fmla="*/ 431 w 861"/>
                <a:gd name="T5" fmla="*/ 34 h 946"/>
                <a:gd name="T6" fmla="*/ 827 w 861"/>
                <a:gd name="T7" fmla="*/ 430 h 946"/>
                <a:gd name="T8" fmla="*/ 431 w 861"/>
                <a:gd name="T9" fmla="*/ 827 h 946"/>
                <a:gd name="T10" fmla="*/ 757 w 861"/>
                <a:gd name="T11" fmla="*/ 862 h 946"/>
                <a:gd name="T12" fmla="*/ 765 w 861"/>
                <a:gd name="T13" fmla="*/ 883 h 946"/>
                <a:gd name="T14" fmla="*/ 757 w 861"/>
                <a:gd name="T15" fmla="*/ 904 h 946"/>
                <a:gd name="T16" fmla="*/ 715 w 861"/>
                <a:gd name="T17" fmla="*/ 904 h 946"/>
                <a:gd name="T18" fmla="*/ 625 w 861"/>
                <a:gd name="T19" fmla="*/ 814 h 946"/>
                <a:gd name="T20" fmla="*/ 677 w 861"/>
                <a:gd name="T21" fmla="*/ 783 h 946"/>
                <a:gd name="T22" fmla="*/ 757 w 861"/>
                <a:gd name="T23" fmla="*/ 862 h 946"/>
                <a:gd name="T24" fmla="*/ 147 w 861"/>
                <a:gd name="T25" fmla="*/ 904 h 946"/>
                <a:gd name="T26" fmla="*/ 105 w 861"/>
                <a:gd name="T27" fmla="*/ 904 h 946"/>
                <a:gd name="T28" fmla="*/ 96 w 861"/>
                <a:gd name="T29" fmla="*/ 883 h 946"/>
                <a:gd name="T30" fmla="*/ 105 w 861"/>
                <a:gd name="T31" fmla="*/ 862 h 946"/>
                <a:gd name="T32" fmla="*/ 184 w 861"/>
                <a:gd name="T33" fmla="*/ 783 h 946"/>
                <a:gd name="T34" fmla="*/ 237 w 861"/>
                <a:gd name="T35" fmla="*/ 814 h 946"/>
                <a:gd name="T36" fmla="*/ 147 w 861"/>
                <a:gd name="T37" fmla="*/ 904 h 946"/>
                <a:gd name="T38" fmla="*/ 861 w 861"/>
                <a:gd name="T39" fmla="*/ 430 h 946"/>
                <a:gd name="T40" fmla="*/ 431 w 861"/>
                <a:gd name="T41" fmla="*/ 0 h 946"/>
                <a:gd name="T42" fmla="*/ 0 w 861"/>
                <a:gd name="T43" fmla="*/ 430 h 946"/>
                <a:gd name="T44" fmla="*/ 157 w 861"/>
                <a:gd name="T45" fmla="*/ 763 h 946"/>
                <a:gd name="T46" fmla="*/ 81 w 861"/>
                <a:gd name="T47" fmla="*/ 839 h 946"/>
                <a:gd name="T48" fmla="*/ 63 w 861"/>
                <a:gd name="T49" fmla="*/ 883 h 946"/>
                <a:gd name="T50" fmla="*/ 81 w 861"/>
                <a:gd name="T51" fmla="*/ 928 h 946"/>
                <a:gd name="T52" fmla="*/ 126 w 861"/>
                <a:gd name="T53" fmla="*/ 946 h 946"/>
                <a:gd name="T54" fmla="*/ 170 w 861"/>
                <a:gd name="T55" fmla="*/ 928 h 946"/>
                <a:gd name="T56" fmla="*/ 268 w 861"/>
                <a:gd name="T57" fmla="*/ 830 h 946"/>
                <a:gd name="T58" fmla="*/ 269 w 861"/>
                <a:gd name="T59" fmla="*/ 829 h 946"/>
                <a:gd name="T60" fmla="*/ 431 w 861"/>
                <a:gd name="T61" fmla="*/ 861 h 946"/>
                <a:gd name="T62" fmla="*/ 593 w 861"/>
                <a:gd name="T63" fmla="*/ 829 h 946"/>
                <a:gd name="T64" fmla="*/ 593 w 861"/>
                <a:gd name="T65" fmla="*/ 830 h 946"/>
                <a:gd name="T66" fmla="*/ 691 w 861"/>
                <a:gd name="T67" fmla="*/ 928 h 946"/>
                <a:gd name="T68" fmla="*/ 736 w 861"/>
                <a:gd name="T69" fmla="*/ 946 h 946"/>
                <a:gd name="T70" fmla="*/ 780 w 861"/>
                <a:gd name="T71" fmla="*/ 928 h 946"/>
                <a:gd name="T72" fmla="*/ 780 w 861"/>
                <a:gd name="T73" fmla="*/ 839 h 946"/>
                <a:gd name="T74" fmla="*/ 704 w 861"/>
                <a:gd name="T75" fmla="*/ 763 h 946"/>
                <a:gd name="T76" fmla="*/ 861 w 861"/>
                <a:gd name="T77" fmla="*/ 430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61" h="946">
                  <a:moveTo>
                    <a:pt x="431" y="827"/>
                  </a:moveTo>
                  <a:cubicBezTo>
                    <a:pt x="212" y="827"/>
                    <a:pt x="34" y="649"/>
                    <a:pt x="34" y="430"/>
                  </a:cubicBezTo>
                  <a:cubicBezTo>
                    <a:pt x="34" y="212"/>
                    <a:pt x="212" y="34"/>
                    <a:pt x="431" y="34"/>
                  </a:cubicBezTo>
                  <a:cubicBezTo>
                    <a:pt x="649" y="34"/>
                    <a:pt x="827" y="212"/>
                    <a:pt x="827" y="430"/>
                  </a:cubicBezTo>
                  <a:cubicBezTo>
                    <a:pt x="827" y="649"/>
                    <a:pt x="649" y="827"/>
                    <a:pt x="431" y="827"/>
                  </a:cubicBezTo>
                  <a:close/>
                  <a:moveTo>
                    <a:pt x="757" y="862"/>
                  </a:moveTo>
                  <a:cubicBezTo>
                    <a:pt x="762" y="868"/>
                    <a:pt x="765" y="875"/>
                    <a:pt x="765" y="883"/>
                  </a:cubicBezTo>
                  <a:cubicBezTo>
                    <a:pt x="765" y="891"/>
                    <a:pt x="762" y="899"/>
                    <a:pt x="757" y="904"/>
                  </a:cubicBezTo>
                  <a:cubicBezTo>
                    <a:pt x="745" y="915"/>
                    <a:pt x="726" y="915"/>
                    <a:pt x="715" y="904"/>
                  </a:cubicBezTo>
                  <a:lnTo>
                    <a:pt x="625" y="814"/>
                  </a:lnTo>
                  <a:cubicBezTo>
                    <a:pt x="643" y="805"/>
                    <a:pt x="660" y="794"/>
                    <a:pt x="677" y="783"/>
                  </a:cubicBezTo>
                  <a:lnTo>
                    <a:pt x="757" y="862"/>
                  </a:lnTo>
                  <a:close/>
                  <a:moveTo>
                    <a:pt x="147" y="904"/>
                  </a:moveTo>
                  <a:cubicBezTo>
                    <a:pt x="135" y="915"/>
                    <a:pt x="116" y="915"/>
                    <a:pt x="105" y="904"/>
                  </a:cubicBezTo>
                  <a:cubicBezTo>
                    <a:pt x="99" y="899"/>
                    <a:pt x="96" y="891"/>
                    <a:pt x="96" y="883"/>
                  </a:cubicBezTo>
                  <a:cubicBezTo>
                    <a:pt x="96" y="875"/>
                    <a:pt x="99" y="868"/>
                    <a:pt x="105" y="862"/>
                  </a:cubicBezTo>
                  <a:lnTo>
                    <a:pt x="184" y="783"/>
                  </a:lnTo>
                  <a:cubicBezTo>
                    <a:pt x="201" y="794"/>
                    <a:pt x="218" y="805"/>
                    <a:pt x="237" y="814"/>
                  </a:cubicBezTo>
                  <a:lnTo>
                    <a:pt x="147" y="904"/>
                  </a:lnTo>
                  <a:close/>
                  <a:moveTo>
                    <a:pt x="861" y="430"/>
                  </a:moveTo>
                  <a:cubicBezTo>
                    <a:pt x="861" y="193"/>
                    <a:pt x="668" y="0"/>
                    <a:pt x="431" y="0"/>
                  </a:cubicBezTo>
                  <a:cubicBezTo>
                    <a:pt x="193" y="0"/>
                    <a:pt x="0" y="193"/>
                    <a:pt x="0" y="430"/>
                  </a:cubicBezTo>
                  <a:cubicBezTo>
                    <a:pt x="0" y="564"/>
                    <a:pt x="62" y="684"/>
                    <a:pt x="157" y="763"/>
                  </a:cubicBezTo>
                  <a:lnTo>
                    <a:pt x="81" y="839"/>
                  </a:lnTo>
                  <a:cubicBezTo>
                    <a:pt x="69" y="851"/>
                    <a:pt x="63" y="866"/>
                    <a:pt x="63" y="883"/>
                  </a:cubicBezTo>
                  <a:cubicBezTo>
                    <a:pt x="63" y="900"/>
                    <a:pt x="69" y="916"/>
                    <a:pt x="81" y="928"/>
                  </a:cubicBezTo>
                  <a:cubicBezTo>
                    <a:pt x="93" y="940"/>
                    <a:pt x="109" y="946"/>
                    <a:pt x="126" y="946"/>
                  </a:cubicBezTo>
                  <a:cubicBezTo>
                    <a:pt x="142" y="946"/>
                    <a:pt x="158" y="940"/>
                    <a:pt x="170" y="928"/>
                  </a:cubicBezTo>
                  <a:lnTo>
                    <a:pt x="268" y="830"/>
                  </a:lnTo>
                  <a:cubicBezTo>
                    <a:pt x="268" y="830"/>
                    <a:pt x="268" y="829"/>
                    <a:pt x="269" y="829"/>
                  </a:cubicBezTo>
                  <a:cubicBezTo>
                    <a:pt x="319" y="849"/>
                    <a:pt x="373" y="861"/>
                    <a:pt x="431" y="861"/>
                  </a:cubicBezTo>
                  <a:cubicBezTo>
                    <a:pt x="488" y="861"/>
                    <a:pt x="543" y="849"/>
                    <a:pt x="593" y="829"/>
                  </a:cubicBezTo>
                  <a:cubicBezTo>
                    <a:pt x="593" y="829"/>
                    <a:pt x="593" y="830"/>
                    <a:pt x="593" y="830"/>
                  </a:cubicBezTo>
                  <a:lnTo>
                    <a:pt x="691" y="928"/>
                  </a:lnTo>
                  <a:cubicBezTo>
                    <a:pt x="703" y="940"/>
                    <a:pt x="719" y="946"/>
                    <a:pt x="736" y="946"/>
                  </a:cubicBezTo>
                  <a:cubicBezTo>
                    <a:pt x="752" y="946"/>
                    <a:pt x="768" y="940"/>
                    <a:pt x="780" y="928"/>
                  </a:cubicBezTo>
                  <a:cubicBezTo>
                    <a:pt x="805" y="903"/>
                    <a:pt x="805" y="863"/>
                    <a:pt x="780" y="839"/>
                  </a:cubicBezTo>
                  <a:lnTo>
                    <a:pt x="704" y="763"/>
                  </a:lnTo>
                  <a:cubicBezTo>
                    <a:pt x="800" y="684"/>
                    <a:pt x="861" y="564"/>
                    <a:pt x="861" y="4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218">
              <a:extLst>
                <a:ext uri="{FF2B5EF4-FFF2-40B4-BE49-F238E27FC236}">
                  <a16:creationId xmlns:a16="http://schemas.microsoft.com/office/drawing/2014/main" id="{13DDD137-49B4-4C09-B960-B13CE35AD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2345" y="4738690"/>
              <a:ext cx="19050" cy="50800"/>
            </a:xfrm>
            <a:custGeom>
              <a:avLst/>
              <a:gdLst>
                <a:gd name="T0" fmla="*/ 17 w 33"/>
                <a:gd name="T1" fmla="*/ 87 h 87"/>
                <a:gd name="T2" fmla="*/ 33 w 33"/>
                <a:gd name="T3" fmla="*/ 71 h 87"/>
                <a:gd name="T4" fmla="*/ 33 w 33"/>
                <a:gd name="T5" fmla="*/ 16 h 87"/>
                <a:gd name="T6" fmla="*/ 17 w 33"/>
                <a:gd name="T7" fmla="*/ 0 h 87"/>
                <a:gd name="T8" fmla="*/ 0 w 33"/>
                <a:gd name="T9" fmla="*/ 16 h 87"/>
                <a:gd name="T10" fmla="*/ 0 w 33"/>
                <a:gd name="T11" fmla="*/ 71 h 87"/>
                <a:gd name="T12" fmla="*/ 17 w 33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87">
                  <a:moveTo>
                    <a:pt x="17" y="87"/>
                  </a:moveTo>
                  <a:cubicBezTo>
                    <a:pt x="26" y="87"/>
                    <a:pt x="33" y="80"/>
                    <a:pt x="33" y="71"/>
                  </a:cubicBezTo>
                  <a:lnTo>
                    <a:pt x="33" y="16"/>
                  </a:lnTo>
                  <a:cubicBezTo>
                    <a:pt x="33" y="7"/>
                    <a:pt x="26" y="0"/>
                    <a:pt x="17" y="0"/>
                  </a:cubicBezTo>
                  <a:cubicBezTo>
                    <a:pt x="7" y="0"/>
                    <a:pt x="0" y="7"/>
                    <a:pt x="0" y="16"/>
                  </a:cubicBezTo>
                  <a:lnTo>
                    <a:pt x="0" y="71"/>
                  </a:lnTo>
                  <a:cubicBezTo>
                    <a:pt x="0" y="80"/>
                    <a:pt x="7" y="87"/>
                    <a:pt x="17" y="8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219">
              <a:extLst>
                <a:ext uri="{FF2B5EF4-FFF2-40B4-BE49-F238E27FC236}">
                  <a16:creationId xmlns:a16="http://schemas.microsoft.com/office/drawing/2014/main" id="{2F082E46-4679-4438-9A73-3F8113A00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8207" y="4757740"/>
              <a:ext cx="30163" cy="33338"/>
            </a:xfrm>
            <a:custGeom>
              <a:avLst/>
              <a:gdLst>
                <a:gd name="T0" fmla="*/ 33 w 49"/>
                <a:gd name="T1" fmla="*/ 11 h 55"/>
                <a:gd name="T2" fmla="*/ 10 w 49"/>
                <a:gd name="T3" fmla="*/ 5 h 55"/>
                <a:gd name="T4" fmla="*/ 4 w 49"/>
                <a:gd name="T5" fmla="*/ 28 h 55"/>
                <a:gd name="T6" fmla="*/ 15 w 49"/>
                <a:gd name="T7" fmla="*/ 47 h 55"/>
                <a:gd name="T8" fmla="*/ 30 w 49"/>
                <a:gd name="T9" fmla="*/ 55 h 55"/>
                <a:gd name="T10" fmla="*/ 38 w 49"/>
                <a:gd name="T11" fmla="*/ 53 h 55"/>
                <a:gd name="T12" fmla="*/ 44 w 49"/>
                <a:gd name="T13" fmla="*/ 30 h 55"/>
                <a:gd name="T14" fmla="*/ 33 w 49"/>
                <a:gd name="T15" fmla="*/ 1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5">
                  <a:moveTo>
                    <a:pt x="33" y="11"/>
                  </a:moveTo>
                  <a:cubicBezTo>
                    <a:pt x="28" y="3"/>
                    <a:pt x="18" y="0"/>
                    <a:pt x="10" y="5"/>
                  </a:cubicBezTo>
                  <a:cubicBezTo>
                    <a:pt x="2" y="10"/>
                    <a:pt x="0" y="20"/>
                    <a:pt x="4" y="28"/>
                  </a:cubicBezTo>
                  <a:lnTo>
                    <a:pt x="15" y="47"/>
                  </a:lnTo>
                  <a:cubicBezTo>
                    <a:pt x="18" y="52"/>
                    <a:pt x="24" y="55"/>
                    <a:pt x="30" y="55"/>
                  </a:cubicBezTo>
                  <a:cubicBezTo>
                    <a:pt x="33" y="55"/>
                    <a:pt x="35" y="55"/>
                    <a:pt x="38" y="53"/>
                  </a:cubicBezTo>
                  <a:cubicBezTo>
                    <a:pt x="46" y="49"/>
                    <a:pt x="49" y="38"/>
                    <a:pt x="44" y="30"/>
                  </a:cubicBezTo>
                  <a:lnTo>
                    <a:pt x="33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220">
              <a:extLst>
                <a:ext uri="{FF2B5EF4-FFF2-40B4-BE49-F238E27FC236}">
                  <a16:creationId xmlns:a16="http://schemas.microsoft.com/office/drawing/2014/main" id="{09211A0A-92C5-4FF7-B37A-F47AA3A79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881" y="4819653"/>
              <a:ext cx="34925" cy="26988"/>
            </a:xfrm>
            <a:custGeom>
              <a:avLst/>
              <a:gdLst>
                <a:gd name="T0" fmla="*/ 47 w 58"/>
                <a:gd name="T1" fmla="*/ 16 h 47"/>
                <a:gd name="T2" fmla="*/ 28 w 58"/>
                <a:gd name="T3" fmla="*/ 5 h 47"/>
                <a:gd name="T4" fmla="*/ 5 w 58"/>
                <a:gd name="T5" fmla="*/ 11 h 47"/>
                <a:gd name="T6" fmla="*/ 11 w 58"/>
                <a:gd name="T7" fmla="*/ 34 h 47"/>
                <a:gd name="T8" fmla="*/ 31 w 58"/>
                <a:gd name="T9" fmla="*/ 45 h 47"/>
                <a:gd name="T10" fmla="*/ 39 w 58"/>
                <a:gd name="T11" fmla="*/ 47 h 47"/>
                <a:gd name="T12" fmla="*/ 53 w 58"/>
                <a:gd name="T13" fmla="*/ 39 h 47"/>
                <a:gd name="T14" fmla="*/ 47 w 58"/>
                <a:gd name="T15" fmla="*/ 1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7">
                  <a:moveTo>
                    <a:pt x="47" y="16"/>
                  </a:moveTo>
                  <a:lnTo>
                    <a:pt x="28" y="5"/>
                  </a:lnTo>
                  <a:cubicBezTo>
                    <a:pt x="20" y="0"/>
                    <a:pt x="10" y="3"/>
                    <a:pt x="5" y="11"/>
                  </a:cubicBezTo>
                  <a:cubicBezTo>
                    <a:pt x="0" y="19"/>
                    <a:pt x="3" y="29"/>
                    <a:pt x="11" y="34"/>
                  </a:cubicBezTo>
                  <a:lnTo>
                    <a:pt x="31" y="45"/>
                  </a:lnTo>
                  <a:cubicBezTo>
                    <a:pt x="33" y="47"/>
                    <a:pt x="36" y="47"/>
                    <a:pt x="39" y="47"/>
                  </a:cubicBezTo>
                  <a:cubicBezTo>
                    <a:pt x="45" y="47"/>
                    <a:pt x="50" y="44"/>
                    <a:pt x="53" y="39"/>
                  </a:cubicBezTo>
                  <a:cubicBezTo>
                    <a:pt x="58" y="31"/>
                    <a:pt x="55" y="21"/>
                    <a:pt x="47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221">
              <a:extLst>
                <a:ext uri="{FF2B5EF4-FFF2-40B4-BE49-F238E27FC236}">
                  <a16:creationId xmlns:a16="http://schemas.microsoft.com/office/drawing/2014/main" id="{6290FF59-677C-4218-BB1C-6938D81E4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881" y="4976815"/>
              <a:ext cx="34925" cy="28575"/>
            </a:xfrm>
            <a:custGeom>
              <a:avLst/>
              <a:gdLst>
                <a:gd name="T0" fmla="*/ 31 w 58"/>
                <a:gd name="T1" fmla="*/ 5 h 47"/>
                <a:gd name="T2" fmla="*/ 11 w 58"/>
                <a:gd name="T3" fmla="*/ 16 h 47"/>
                <a:gd name="T4" fmla="*/ 5 w 58"/>
                <a:gd name="T5" fmla="*/ 39 h 47"/>
                <a:gd name="T6" fmla="*/ 20 w 58"/>
                <a:gd name="T7" fmla="*/ 47 h 47"/>
                <a:gd name="T8" fmla="*/ 28 w 58"/>
                <a:gd name="T9" fmla="*/ 45 h 47"/>
                <a:gd name="T10" fmla="*/ 47 w 58"/>
                <a:gd name="T11" fmla="*/ 34 h 47"/>
                <a:gd name="T12" fmla="*/ 53 w 58"/>
                <a:gd name="T13" fmla="*/ 11 h 47"/>
                <a:gd name="T14" fmla="*/ 31 w 58"/>
                <a:gd name="T15" fmla="*/ 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7">
                  <a:moveTo>
                    <a:pt x="31" y="5"/>
                  </a:moveTo>
                  <a:lnTo>
                    <a:pt x="11" y="16"/>
                  </a:lnTo>
                  <a:cubicBezTo>
                    <a:pt x="3" y="21"/>
                    <a:pt x="0" y="31"/>
                    <a:pt x="5" y="39"/>
                  </a:cubicBezTo>
                  <a:cubicBezTo>
                    <a:pt x="8" y="44"/>
                    <a:pt x="14" y="47"/>
                    <a:pt x="20" y="47"/>
                  </a:cubicBezTo>
                  <a:cubicBezTo>
                    <a:pt x="22" y="47"/>
                    <a:pt x="25" y="46"/>
                    <a:pt x="28" y="45"/>
                  </a:cubicBezTo>
                  <a:lnTo>
                    <a:pt x="47" y="34"/>
                  </a:lnTo>
                  <a:cubicBezTo>
                    <a:pt x="55" y="29"/>
                    <a:pt x="58" y="19"/>
                    <a:pt x="53" y="11"/>
                  </a:cubicBezTo>
                  <a:cubicBezTo>
                    <a:pt x="49" y="3"/>
                    <a:pt x="38" y="0"/>
                    <a:pt x="31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222">
              <a:extLst>
                <a:ext uri="{FF2B5EF4-FFF2-40B4-BE49-F238E27FC236}">
                  <a16:creationId xmlns:a16="http://schemas.microsoft.com/office/drawing/2014/main" id="{C8EB0371-5A4D-43CF-94C8-B4C02AB39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8207" y="5033965"/>
              <a:ext cx="30163" cy="31750"/>
            </a:xfrm>
            <a:custGeom>
              <a:avLst/>
              <a:gdLst>
                <a:gd name="T0" fmla="*/ 38 w 49"/>
                <a:gd name="T1" fmla="*/ 5 h 55"/>
                <a:gd name="T2" fmla="*/ 15 w 49"/>
                <a:gd name="T3" fmla="*/ 11 h 55"/>
                <a:gd name="T4" fmla="*/ 4 w 49"/>
                <a:gd name="T5" fmla="*/ 30 h 55"/>
                <a:gd name="T6" fmla="*/ 10 w 49"/>
                <a:gd name="T7" fmla="*/ 53 h 55"/>
                <a:gd name="T8" fmla="*/ 19 w 49"/>
                <a:gd name="T9" fmla="*/ 55 h 55"/>
                <a:gd name="T10" fmla="*/ 33 w 49"/>
                <a:gd name="T11" fmla="*/ 47 h 55"/>
                <a:gd name="T12" fmla="*/ 44 w 49"/>
                <a:gd name="T13" fmla="*/ 28 h 55"/>
                <a:gd name="T14" fmla="*/ 38 w 49"/>
                <a:gd name="T15" fmla="*/ 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5">
                  <a:moveTo>
                    <a:pt x="38" y="5"/>
                  </a:moveTo>
                  <a:cubicBezTo>
                    <a:pt x="30" y="0"/>
                    <a:pt x="20" y="3"/>
                    <a:pt x="15" y="11"/>
                  </a:cubicBezTo>
                  <a:lnTo>
                    <a:pt x="4" y="30"/>
                  </a:lnTo>
                  <a:cubicBezTo>
                    <a:pt x="0" y="38"/>
                    <a:pt x="2" y="48"/>
                    <a:pt x="10" y="53"/>
                  </a:cubicBezTo>
                  <a:cubicBezTo>
                    <a:pt x="13" y="55"/>
                    <a:pt x="16" y="55"/>
                    <a:pt x="19" y="55"/>
                  </a:cubicBezTo>
                  <a:cubicBezTo>
                    <a:pt x="24" y="55"/>
                    <a:pt x="30" y="52"/>
                    <a:pt x="33" y="47"/>
                  </a:cubicBezTo>
                  <a:lnTo>
                    <a:pt x="44" y="28"/>
                  </a:lnTo>
                  <a:cubicBezTo>
                    <a:pt x="49" y="20"/>
                    <a:pt x="46" y="9"/>
                    <a:pt x="38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223">
              <a:extLst>
                <a:ext uri="{FF2B5EF4-FFF2-40B4-BE49-F238E27FC236}">
                  <a16:creationId xmlns:a16="http://schemas.microsoft.com/office/drawing/2014/main" id="{5A9C243A-7ECB-4413-81B3-D8ED16292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6956" y="5033965"/>
              <a:ext cx="30163" cy="31750"/>
            </a:xfrm>
            <a:custGeom>
              <a:avLst/>
              <a:gdLst>
                <a:gd name="T0" fmla="*/ 33 w 49"/>
                <a:gd name="T1" fmla="*/ 11 h 55"/>
                <a:gd name="T2" fmla="*/ 10 w 49"/>
                <a:gd name="T3" fmla="*/ 5 h 55"/>
                <a:gd name="T4" fmla="*/ 4 w 49"/>
                <a:gd name="T5" fmla="*/ 28 h 55"/>
                <a:gd name="T6" fmla="*/ 15 w 49"/>
                <a:gd name="T7" fmla="*/ 47 h 55"/>
                <a:gd name="T8" fmla="*/ 30 w 49"/>
                <a:gd name="T9" fmla="*/ 55 h 55"/>
                <a:gd name="T10" fmla="*/ 38 w 49"/>
                <a:gd name="T11" fmla="*/ 53 h 55"/>
                <a:gd name="T12" fmla="*/ 44 w 49"/>
                <a:gd name="T13" fmla="*/ 30 h 55"/>
                <a:gd name="T14" fmla="*/ 33 w 49"/>
                <a:gd name="T15" fmla="*/ 1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5">
                  <a:moveTo>
                    <a:pt x="33" y="11"/>
                  </a:moveTo>
                  <a:cubicBezTo>
                    <a:pt x="28" y="3"/>
                    <a:pt x="18" y="0"/>
                    <a:pt x="10" y="5"/>
                  </a:cubicBezTo>
                  <a:cubicBezTo>
                    <a:pt x="2" y="9"/>
                    <a:pt x="0" y="20"/>
                    <a:pt x="4" y="28"/>
                  </a:cubicBezTo>
                  <a:lnTo>
                    <a:pt x="15" y="47"/>
                  </a:lnTo>
                  <a:cubicBezTo>
                    <a:pt x="18" y="52"/>
                    <a:pt x="24" y="55"/>
                    <a:pt x="30" y="55"/>
                  </a:cubicBezTo>
                  <a:cubicBezTo>
                    <a:pt x="33" y="55"/>
                    <a:pt x="35" y="55"/>
                    <a:pt x="38" y="53"/>
                  </a:cubicBezTo>
                  <a:cubicBezTo>
                    <a:pt x="46" y="48"/>
                    <a:pt x="49" y="38"/>
                    <a:pt x="44" y="30"/>
                  </a:cubicBezTo>
                  <a:lnTo>
                    <a:pt x="33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224">
              <a:extLst>
                <a:ext uri="{FF2B5EF4-FFF2-40B4-BE49-F238E27FC236}">
                  <a16:creationId xmlns:a16="http://schemas.microsoft.com/office/drawing/2014/main" id="{D9E49EF5-46B4-42EB-B38E-8A87583EC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2519" y="4976815"/>
              <a:ext cx="34925" cy="28575"/>
            </a:xfrm>
            <a:custGeom>
              <a:avLst/>
              <a:gdLst>
                <a:gd name="T0" fmla="*/ 47 w 58"/>
                <a:gd name="T1" fmla="*/ 16 h 47"/>
                <a:gd name="T2" fmla="*/ 28 w 58"/>
                <a:gd name="T3" fmla="*/ 5 h 47"/>
                <a:gd name="T4" fmla="*/ 5 w 58"/>
                <a:gd name="T5" fmla="*/ 11 h 47"/>
                <a:gd name="T6" fmla="*/ 11 w 58"/>
                <a:gd name="T7" fmla="*/ 34 h 47"/>
                <a:gd name="T8" fmla="*/ 30 w 58"/>
                <a:gd name="T9" fmla="*/ 45 h 47"/>
                <a:gd name="T10" fmla="*/ 39 w 58"/>
                <a:gd name="T11" fmla="*/ 47 h 47"/>
                <a:gd name="T12" fmla="*/ 53 w 58"/>
                <a:gd name="T13" fmla="*/ 39 h 47"/>
                <a:gd name="T14" fmla="*/ 47 w 58"/>
                <a:gd name="T15" fmla="*/ 1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7">
                  <a:moveTo>
                    <a:pt x="47" y="16"/>
                  </a:moveTo>
                  <a:lnTo>
                    <a:pt x="28" y="5"/>
                  </a:lnTo>
                  <a:cubicBezTo>
                    <a:pt x="20" y="0"/>
                    <a:pt x="10" y="3"/>
                    <a:pt x="5" y="11"/>
                  </a:cubicBezTo>
                  <a:cubicBezTo>
                    <a:pt x="0" y="19"/>
                    <a:pt x="3" y="29"/>
                    <a:pt x="11" y="34"/>
                  </a:cubicBezTo>
                  <a:lnTo>
                    <a:pt x="30" y="45"/>
                  </a:lnTo>
                  <a:cubicBezTo>
                    <a:pt x="33" y="46"/>
                    <a:pt x="36" y="47"/>
                    <a:pt x="39" y="47"/>
                  </a:cubicBezTo>
                  <a:cubicBezTo>
                    <a:pt x="45" y="47"/>
                    <a:pt x="50" y="44"/>
                    <a:pt x="53" y="39"/>
                  </a:cubicBezTo>
                  <a:cubicBezTo>
                    <a:pt x="58" y="31"/>
                    <a:pt x="55" y="21"/>
                    <a:pt x="47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225">
              <a:extLst>
                <a:ext uri="{FF2B5EF4-FFF2-40B4-BE49-F238E27FC236}">
                  <a16:creationId xmlns:a16="http://schemas.microsoft.com/office/drawing/2014/main" id="{B981B2B8-BD0C-47A3-A02A-BB88A93FC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2519" y="4819653"/>
              <a:ext cx="34925" cy="26988"/>
            </a:xfrm>
            <a:custGeom>
              <a:avLst/>
              <a:gdLst>
                <a:gd name="T0" fmla="*/ 19 w 58"/>
                <a:gd name="T1" fmla="*/ 47 h 47"/>
                <a:gd name="T2" fmla="*/ 28 w 58"/>
                <a:gd name="T3" fmla="*/ 45 h 47"/>
                <a:gd name="T4" fmla="*/ 47 w 58"/>
                <a:gd name="T5" fmla="*/ 34 h 47"/>
                <a:gd name="T6" fmla="*/ 53 w 58"/>
                <a:gd name="T7" fmla="*/ 11 h 47"/>
                <a:gd name="T8" fmla="*/ 30 w 58"/>
                <a:gd name="T9" fmla="*/ 5 h 47"/>
                <a:gd name="T10" fmla="*/ 11 w 58"/>
                <a:gd name="T11" fmla="*/ 16 h 47"/>
                <a:gd name="T12" fmla="*/ 5 w 58"/>
                <a:gd name="T13" fmla="*/ 39 h 47"/>
                <a:gd name="T14" fmla="*/ 19 w 58"/>
                <a:gd name="T1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7">
                  <a:moveTo>
                    <a:pt x="19" y="47"/>
                  </a:moveTo>
                  <a:cubicBezTo>
                    <a:pt x="22" y="47"/>
                    <a:pt x="25" y="47"/>
                    <a:pt x="28" y="45"/>
                  </a:cubicBezTo>
                  <a:lnTo>
                    <a:pt x="47" y="34"/>
                  </a:lnTo>
                  <a:cubicBezTo>
                    <a:pt x="55" y="29"/>
                    <a:pt x="58" y="19"/>
                    <a:pt x="53" y="11"/>
                  </a:cubicBezTo>
                  <a:cubicBezTo>
                    <a:pt x="49" y="3"/>
                    <a:pt x="38" y="0"/>
                    <a:pt x="30" y="5"/>
                  </a:cubicBezTo>
                  <a:lnTo>
                    <a:pt x="11" y="16"/>
                  </a:lnTo>
                  <a:cubicBezTo>
                    <a:pt x="3" y="21"/>
                    <a:pt x="0" y="31"/>
                    <a:pt x="5" y="39"/>
                  </a:cubicBezTo>
                  <a:cubicBezTo>
                    <a:pt x="8" y="44"/>
                    <a:pt x="14" y="47"/>
                    <a:pt x="19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226">
              <a:extLst>
                <a:ext uri="{FF2B5EF4-FFF2-40B4-BE49-F238E27FC236}">
                  <a16:creationId xmlns:a16="http://schemas.microsoft.com/office/drawing/2014/main" id="{26D00284-D79C-475D-9717-BE98C9304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6956" y="4757740"/>
              <a:ext cx="30163" cy="33338"/>
            </a:xfrm>
            <a:custGeom>
              <a:avLst/>
              <a:gdLst>
                <a:gd name="T0" fmla="*/ 10 w 49"/>
                <a:gd name="T1" fmla="*/ 53 h 55"/>
                <a:gd name="T2" fmla="*/ 19 w 49"/>
                <a:gd name="T3" fmla="*/ 55 h 55"/>
                <a:gd name="T4" fmla="*/ 33 w 49"/>
                <a:gd name="T5" fmla="*/ 47 h 55"/>
                <a:gd name="T6" fmla="*/ 44 w 49"/>
                <a:gd name="T7" fmla="*/ 28 h 55"/>
                <a:gd name="T8" fmla="*/ 38 w 49"/>
                <a:gd name="T9" fmla="*/ 5 h 55"/>
                <a:gd name="T10" fmla="*/ 15 w 49"/>
                <a:gd name="T11" fmla="*/ 11 h 55"/>
                <a:gd name="T12" fmla="*/ 4 w 49"/>
                <a:gd name="T13" fmla="*/ 30 h 55"/>
                <a:gd name="T14" fmla="*/ 10 w 49"/>
                <a:gd name="T15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5">
                  <a:moveTo>
                    <a:pt x="10" y="53"/>
                  </a:moveTo>
                  <a:cubicBezTo>
                    <a:pt x="13" y="55"/>
                    <a:pt x="16" y="55"/>
                    <a:pt x="19" y="55"/>
                  </a:cubicBezTo>
                  <a:cubicBezTo>
                    <a:pt x="24" y="55"/>
                    <a:pt x="30" y="52"/>
                    <a:pt x="33" y="47"/>
                  </a:cubicBezTo>
                  <a:lnTo>
                    <a:pt x="44" y="28"/>
                  </a:lnTo>
                  <a:cubicBezTo>
                    <a:pt x="49" y="20"/>
                    <a:pt x="46" y="10"/>
                    <a:pt x="38" y="5"/>
                  </a:cubicBezTo>
                  <a:cubicBezTo>
                    <a:pt x="30" y="0"/>
                    <a:pt x="20" y="3"/>
                    <a:pt x="15" y="11"/>
                  </a:cubicBezTo>
                  <a:lnTo>
                    <a:pt x="4" y="30"/>
                  </a:lnTo>
                  <a:cubicBezTo>
                    <a:pt x="0" y="38"/>
                    <a:pt x="2" y="49"/>
                    <a:pt x="10" y="5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227">
              <a:extLst>
                <a:ext uri="{FF2B5EF4-FFF2-40B4-BE49-F238E27FC236}">
                  <a16:creationId xmlns:a16="http://schemas.microsoft.com/office/drawing/2014/main" id="{A9C89A5D-86B5-4F40-8564-963831614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7244" y="4903790"/>
              <a:ext cx="52388" cy="19050"/>
            </a:xfrm>
            <a:custGeom>
              <a:avLst/>
              <a:gdLst>
                <a:gd name="T0" fmla="*/ 88 w 88"/>
                <a:gd name="T1" fmla="*/ 16 h 33"/>
                <a:gd name="T2" fmla="*/ 71 w 88"/>
                <a:gd name="T3" fmla="*/ 0 h 33"/>
                <a:gd name="T4" fmla="*/ 17 w 88"/>
                <a:gd name="T5" fmla="*/ 0 h 33"/>
                <a:gd name="T6" fmla="*/ 0 w 88"/>
                <a:gd name="T7" fmla="*/ 16 h 33"/>
                <a:gd name="T8" fmla="*/ 17 w 88"/>
                <a:gd name="T9" fmla="*/ 33 h 33"/>
                <a:gd name="T10" fmla="*/ 71 w 88"/>
                <a:gd name="T11" fmla="*/ 33 h 33"/>
                <a:gd name="T12" fmla="*/ 88 w 88"/>
                <a:gd name="T1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33">
                  <a:moveTo>
                    <a:pt x="88" y="16"/>
                  </a:moveTo>
                  <a:cubicBezTo>
                    <a:pt x="88" y="7"/>
                    <a:pt x="80" y="0"/>
                    <a:pt x="71" y="0"/>
                  </a:cubicBezTo>
                  <a:lnTo>
                    <a:pt x="17" y="0"/>
                  </a:lnTo>
                  <a:cubicBezTo>
                    <a:pt x="7" y="0"/>
                    <a:pt x="0" y="7"/>
                    <a:pt x="0" y="16"/>
                  </a:cubicBezTo>
                  <a:cubicBezTo>
                    <a:pt x="0" y="26"/>
                    <a:pt x="7" y="33"/>
                    <a:pt x="17" y="33"/>
                  </a:cubicBezTo>
                  <a:lnTo>
                    <a:pt x="71" y="33"/>
                  </a:lnTo>
                  <a:cubicBezTo>
                    <a:pt x="80" y="33"/>
                    <a:pt x="88" y="26"/>
                    <a:pt x="88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228">
              <a:extLst>
                <a:ext uri="{FF2B5EF4-FFF2-40B4-BE49-F238E27FC236}">
                  <a16:creationId xmlns:a16="http://schemas.microsoft.com/office/drawing/2014/main" id="{C585137B-8BA8-42D8-8BF3-B64C7ACAE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2345" y="5035557"/>
              <a:ext cx="19050" cy="52388"/>
            </a:xfrm>
            <a:custGeom>
              <a:avLst/>
              <a:gdLst>
                <a:gd name="T0" fmla="*/ 17 w 33"/>
                <a:gd name="T1" fmla="*/ 0 h 87"/>
                <a:gd name="T2" fmla="*/ 0 w 33"/>
                <a:gd name="T3" fmla="*/ 16 h 87"/>
                <a:gd name="T4" fmla="*/ 0 w 33"/>
                <a:gd name="T5" fmla="*/ 71 h 87"/>
                <a:gd name="T6" fmla="*/ 17 w 33"/>
                <a:gd name="T7" fmla="*/ 87 h 87"/>
                <a:gd name="T8" fmla="*/ 33 w 33"/>
                <a:gd name="T9" fmla="*/ 71 h 87"/>
                <a:gd name="T10" fmla="*/ 33 w 33"/>
                <a:gd name="T11" fmla="*/ 16 h 87"/>
                <a:gd name="T12" fmla="*/ 17 w 33"/>
                <a:gd name="T1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87">
                  <a:moveTo>
                    <a:pt x="17" y="0"/>
                  </a:moveTo>
                  <a:cubicBezTo>
                    <a:pt x="7" y="0"/>
                    <a:pt x="0" y="7"/>
                    <a:pt x="0" y="16"/>
                  </a:cubicBezTo>
                  <a:lnTo>
                    <a:pt x="0" y="71"/>
                  </a:lnTo>
                  <a:cubicBezTo>
                    <a:pt x="0" y="80"/>
                    <a:pt x="7" y="87"/>
                    <a:pt x="17" y="87"/>
                  </a:cubicBezTo>
                  <a:cubicBezTo>
                    <a:pt x="26" y="87"/>
                    <a:pt x="33" y="80"/>
                    <a:pt x="33" y="71"/>
                  </a:cubicBezTo>
                  <a:lnTo>
                    <a:pt x="33" y="16"/>
                  </a:lnTo>
                  <a:cubicBezTo>
                    <a:pt x="33" y="7"/>
                    <a:pt x="26" y="0"/>
                    <a:pt x="1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229">
              <a:extLst>
                <a:ext uri="{FF2B5EF4-FFF2-40B4-BE49-F238E27FC236}">
                  <a16:creationId xmlns:a16="http://schemas.microsoft.com/office/drawing/2014/main" id="{B909E6C7-6E5E-4194-93C3-107894957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5695" y="4903794"/>
              <a:ext cx="50800" cy="19050"/>
            </a:xfrm>
            <a:custGeom>
              <a:avLst/>
              <a:gdLst>
                <a:gd name="T0" fmla="*/ 71 w 87"/>
                <a:gd name="T1" fmla="*/ 0 h 33"/>
                <a:gd name="T2" fmla="*/ 16 w 87"/>
                <a:gd name="T3" fmla="*/ 0 h 33"/>
                <a:gd name="T4" fmla="*/ 0 w 87"/>
                <a:gd name="T5" fmla="*/ 16 h 33"/>
                <a:gd name="T6" fmla="*/ 16 w 87"/>
                <a:gd name="T7" fmla="*/ 33 h 33"/>
                <a:gd name="T8" fmla="*/ 71 w 87"/>
                <a:gd name="T9" fmla="*/ 33 h 33"/>
                <a:gd name="T10" fmla="*/ 87 w 87"/>
                <a:gd name="T11" fmla="*/ 16 h 33"/>
                <a:gd name="T12" fmla="*/ 71 w 87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33">
                  <a:moveTo>
                    <a:pt x="71" y="0"/>
                  </a:move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cubicBezTo>
                    <a:pt x="0" y="26"/>
                    <a:pt x="7" y="33"/>
                    <a:pt x="16" y="33"/>
                  </a:cubicBezTo>
                  <a:lnTo>
                    <a:pt x="71" y="33"/>
                  </a:lnTo>
                  <a:cubicBezTo>
                    <a:pt x="80" y="33"/>
                    <a:pt x="87" y="26"/>
                    <a:pt x="87" y="16"/>
                  </a:cubicBezTo>
                  <a:cubicBezTo>
                    <a:pt x="87" y="7"/>
                    <a:pt x="80" y="0"/>
                    <a:pt x="7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230">
              <a:extLst>
                <a:ext uri="{FF2B5EF4-FFF2-40B4-BE49-F238E27FC236}">
                  <a16:creationId xmlns:a16="http://schemas.microsoft.com/office/drawing/2014/main" id="{F7968F9A-5B28-4463-95ED-B96219456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057" y="4889510"/>
              <a:ext cx="127000" cy="100014"/>
            </a:xfrm>
            <a:custGeom>
              <a:avLst/>
              <a:gdLst>
                <a:gd name="T0" fmla="*/ 197 w 213"/>
                <a:gd name="T1" fmla="*/ 24 h 169"/>
                <a:gd name="T2" fmla="*/ 78 w 213"/>
                <a:gd name="T3" fmla="*/ 24 h 169"/>
                <a:gd name="T4" fmla="*/ 41 w 213"/>
                <a:gd name="T5" fmla="*/ 0 h 169"/>
                <a:gd name="T6" fmla="*/ 0 w 213"/>
                <a:gd name="T7" fmla="*/ 40 h 169"/>
                <a:gd name="T8" fmla="*/ 24 w 213"/>
                <a:gd name="T9" fmla="*/ 77 h 169"/>
                <a:gd name="T10" fmla="*/ 24 w 213"/>
                <a:gd name="T11" fmla="*/ 153 h 169"/>
                <a:gd name="T12" fmla="*/ 41 w 213"/>
                <a:gd name="T13" fmla="*/ 169 h 169"/>
                <a:gd name="T14" fmla="*/ 57 w 213"/>
                <a:gd name="T15" fmla="*/ 153 h 169"/>
                <a:gd name="T16" fmla="*/ 57 w 213"/>
                <a:gd name="T17" fmla="*/ 77 h 169"/>
                <a:gd name="T18" fmla="*/ 78 w 213"/>
                <a:gd name="T19" fmla="*/ 57 h 169"/>
                <a:gd name="T20" fmla="*/ 197 w 213"/>
                <a:gd name="T21" fmla="*/ 57 h 169"/>
                <a:gd name="T22" fmla="*/ 213 w 213"/>
                <a:gd name="T23" fmla="*/ 40 h 169"/>
                <a:gd name="T24" fmla="*/ 197 w 213"/>
                <a:gd name="T25" fmla="*/ 2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3" h="169">
                  <a:moveTo>
                    <a:pt x="197" y="24"/>
                  </a:moveTo>
                  <a:lnTo>
                    <a:pt x="78" y="24"/>
                  </a:lnTo>
                  <a:cubicBezTo>
                    <a:pt x="71" y="10"/>
                    <a:pt x="57" y="0"/>
                    <a:pt x="41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7"/>
                    <a:pt x="10" y="71"/>
                    <a:pt x="24" y="77"/>
                  </a:cubicBezTo>
                  <a:lnTo>
                    <a:pt x="24" y="153"/>
                  </a:lnTo>
                  <a:cubicBezTo>
                    <a:pt x="24" y="162"/>
                    <a:pt x="31" y="169"/>
                    <a:pt x="41" y="169"/>
                  </a:cubicBezTo>
                  <a:cubicBezTo>
                    <a:pt x="50" y="169"/>
                    <a:pt x="57" y="162"/>
                    <a:pt x="57" y="153"/>
                  </a:cubicBezTo>
                  <a:lnTo>
                    <a:pt x="57" y="77"/>
                  </a:lnTo>
                  <a:cubicBezTo>
                    <a:pt x="66" y="73"/>
                    <a:pt x="74" y="66"/>
                    <a:pt x="78" y="57"/>
                  </a:cubicBezTo>
                  <a:lnTo>
                    <a:pt x="197" y="57"/>
                  </a:lnTo>
                  <a:cubicBezTo>
                    <a:pt x="206" y="57"/>
                    <a:pt x="213" y="50"/>
                    <a:pt x="213" y="40"/>
                  </a:cubicBezTo>
                  <a:cubicBezTo>
                    <a:pt x="213" y="31"/>
                    <a:pt x="206" y="24"/>
                    <a:pt x="197" y="2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231">
              <a:extLst>
                <a:ext uri="{FF2B5EF4-FFF2-40B4-BE49-F238E27FC236}">
                  <a16:creationId xmlns:a16="http://schemas.microsoft.com/office/drawing/2014/main" id="{FC72C888-FF12-4C14-94B0-607B1CDD18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6650" y="4583121"/>
              <a:ext cx="227013" cy="227013"/>
            </a:xfrm>
            <a:custGeom>
              <a:avLst/>
              <a:gdLst>
                <a:gd name="T0" fmla="*/ 307 w 380"/>
                <a:gd name="T1" fmla="*/ 336 h 380"/>
                <a:gd name="T2" fmla="*/ 45 w 380"/>
                <a:gd name="T3" fmla="*/ 73 h 380"/>
                <a:gd name="T4" fmla="*/ 267 w 380"/>
                <a:gd name="T5" fmla="*/ 114 h 380"/>
                <a:gd name="T6" fmla="*/ 307 w 380"/>
                <a:gd name="T7" fmla="*/ 336 h 380"/>
                <a:gd name="T8" fmla="*/ 290 w 380"/>
                <a:gd name="T9" fmla="*/ 90 h 380"/>
                <a:gd name="T10" fmla="*/ 8 w 380"/>
                <a:gd name="T11" fmla="*/ 54 h 380"/>
                <a:gd name="T12" fmla="*/ 0 w 380"/>
                <a:gd name="T13" fmla="*/ 67 h 380"/>
                <a:gd name="T14" fmla="*/ 5 w 380"/>
                <a:gd name="T15" fmla="*/ 80 h 380"/>
                <a:gd name="T16" fmla="*/ 300 w 380"/>
                <a:gd name="T17" fmla="*/ 375 h 380"/>
                <a:gd name="T18" fmla="*/ 311 w 380"/>
                <a:gd name="T19" fmla="*/ 380 h 380"/>
                <a:gd name="T20" fmla="*/ 314 w 380"/>
                <a:gd name="T21" fmla="*/ 380 h 380"/>
                <a:gd name="T22" fmla="*/ 326 w 380"/>
                <a:gd name="T23" fmla="*/ 372 h 380"/>
                <a:gd name="T24" fmla="*/ 290 w 380"/>
                <a:gd name="T25" fmla="*/ 9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0" h="380">
                  <a:moveTo>
                    <a:pt x="307" y="336"/>
                  </a:moveTo>
                  <a:lnTo>
                    <a:pt x="45" y="73"/>
                  </a:lnTo>
                  <a:cubicBezTo>
                    <a:pt x="119" y="39"/>
                    <a:pt x="208" y="55"/>
                    <a:pt x="267" y="114"/>
                  </a:cubicBezTo>
                  <a:cubicBezTo>
                    <a:pt x="326" y="172"/>
                    <a:pt x="341" y="261"/>
                    <a:pt x="307" y="336"/>
                  </a:cubicBezTo>
                  <a:close/>
                  <a:moveTo>
                    <a:pt x="290" y="90"/>
                  </a:moveTo>
                  <a:cubicBezTo>
                    <a:pt x="215" y="15"/>
                    <a:pt x="99" y="0"/>
                    <a:pt x="8" y="54"/>
                  </a:cubicBezTo>
                  <a:cubicBezTo>
                    <a:pt x="4" y="57"/>
                    <a:pt x="1" y="62"/>
                    <a:pt x="0" y="67"/>
                  </a:cubicBezTo>
                  <a:cubicBezTo>
                    <a:pt x="0" y="72"/>
                    <a:pt x="1" y="77"/>
                    <a:pt x="5" y="80"/>
                  </a:cubicBezTo>
                  <a:lnTo>
                    <a:pt x="300" y="375"/>
                  </a:lnTo>
                  <a:cubicBezTo>
                    <a:pt x="303" y="378"/>
                    <a:pt x="307" y="380"/>
                    <a:pt x="311" y="380"/>
                  </a:cubicBezTo>
                  <a:cubicBezTo>
                    <a:pt x="312" y="380"/>
                    <a:pt x="313" y="380"/>
                    <a:pt x="314" y="380"/>
                  </a:cubicBezTo>
                  <a:cubicBezTo>
                    <a:pt x="319" y="379"/>
                    <a:pt x="323" y="376"/>
                    <a:pt x="326" y="372"/>
                  </a:cubicBezTo>
                  <a:cubicBezTo>
                    <a:pt x="380" y="281"/>
                    <a:pt x="365" y="165"/>
                    <a:pt x="290" y="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232">
              <a:extLst>
                <a:ext uri="{FF2B5EF4-FFF2-40B4-BE49-F238E27FC236}">
                  <a16:creationId xmlns:a16="http://schemas.microsoft.com/office/drawing/2014/main" id="{C4EBF38E-79D0-4E68-8CA1-13E34C70AB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21663" y="4583113"/>
              <a:ext cx="227013" cy="228600"/>
            </a:xfrm>
            <a:custGeom>
              <a:avLst/>
              <a:gdLst>
                <a:gd name="T0" fmla="*/ 72 w 380"/>
                <a:gd name="T1" fmla="*/ 336 h 380"/>
                <a:gd name="T2" fmla="*/ 113 w 380"/>
                <a:gd name="T3" fmla="*/ 114 h 380"/>
                <a:gd name="T4" fmla="*/ 253 w 380"/>
                <a:gd name="T5" fmla="*/ 55 h 380"/>
                <a:gd name="T6" fmla="*/ 335 w 380"/>
                <a:gd name="T7" fmla="*/ 73 h 380"/>
                <a:gd name="T8" fmla="*/ 72 w 380"/>
                <a:gd name="T9" fmla="*/ 336 h 380"/>
                <a:gd name="T10" fmla="*/ 379 w 380"/>
                <a:gd name="T11" fmla="*/ 67 h 380"/>
                <a:gd name="T12" fmla="*/ 371 w 380"/>
                <a:gd name="T13" fmla="*/ 54 h 380"/>
                <a:gd name="T14" fmla="*/ 89 w 380"/>
                <a:gd name="T15" fmla="*/ 90 h 380"/>
                <a:gd name="T16" fmla="*/ 54 w 380"/>
                <a:gd name="T17" fmla="*/ 372 h 380"/>
                <a:gd name="T18" fmla="*/ 66 w 380"/>
                <a:gd name="T19" fmla="*/ 380 h 380"/>
                <a:gd name="T20" fmla="*/ 68 w 380"/>
                <a:gd name="T21" fmla="*/ 380 h 380"/>
                <a:gd name="T22" fmla="*/ 80 w 380"/>
                <a:gd name="T23" fmla="*/ 375 h 380"/>
                <a:gd name="T24" fmla="*/ 374 w 380"/>
                <a:gd name="T25" fmla="*/ 81 h 380"/>
                <a:gd name="T26" fmla="*/ 379 w 380"/>
                <a:gd name="T27" fmla="*/ 6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0" h="380">
                  <a:moveTo>
                    <a:pt x="72" y="336"/>
                  </a:moveTo>
                  <a:cubicBezTo>
                    <a:pt x="38" y="261"/>
                    <a:pt x="54" y="173"/>
                    <a:pt x="113" y="114"/>
                  </a:cubicBezTo>
                  <a:cubicBezTo>
                    <a:pt x="151" y="75"/>
                    <a:pt x="202" y="55"/>
                    <a:pt x="253" y="55"/>
                  </a:cubicBezTo>
                  <a:cubicBezTo>
                    <a:pt x="281" y="55"/>
                    <a:pt x="309" y="61"/>
                    <a:pt x="335" y="73"/>
                  </a:cubicBezTo>
                  <a:lnTo>
                    <a:pt x="72" y="336"/>
                  </a:lnTo>
                  <a:close/>
                  <a:moveTo>
                    <a:pt x="379" y="67"/>
                  </a:moveTo>
                  <a:cubicBezTo>
                    <a:pt x="378" y="62"/>
                    <a:pt x="376" y="57"/>
                    <a:pt x="371" y="54"/>
                  </a:cubicBezTo>
                  <a:cubicBezTo>
                    <a:pt x="280" y="0"/>
                    <a:pt x="164" y="15"/>
                    <a:pt x="89" y="90"/>
                  </a:cubicBezTo>
                  <a:cubicBezTo>
                    <a:pt x="14" y="165"/>
                    <a:pt x="0" y="281"/>
                    <a:pt x="54" y="372"/>
                  </a:cubicBezTo>
                  <a:cubicBezTo>
                    <a:pt x="56" y="376"/>
                    <a:pt x="61" y="379"/>
                    <a:pt x="66" y="380"/>
                  </a:cubicBezTo>
                  <a:cubicBezTo>
                    <a:pt x="66" y="380"/>
                    <a:pt x="67" y="380"/>
                    <a:pt x="68" y="380"/>
                  </a:cubicBezTo>
                  <a:cubicBezTo>
                    <a:pt x="72" y="380"/>
                    <a:pt x="76" y="378"/>
                    <a:pt x="80" y="375"/>
                  </a:cubicBezTo>
                  <a:lnTo>
                    <a:pt x="374" y="81"/>
                  </a:lnTo>
                  <a:cubicBezTo>
                    <a:pt x="378" y="77"/>
                    <a:pt x="380" y="72"/>
                    <a:pt x="379" y="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1E31EE05-6F35-4C73-A0AD-22A618C9E716}"/>
              </a:ext>
            </a:extLst>
          </p:cNvPr>
          <p:cNvSpPr txBox="1"/>
          <p:nvPr/>
        </p:nvSpPr>
        <p:spPr>
          <a:xfrm>
            <a:off x="5004996" y="2815115"/>
            <a:ext cx="2182009" cy="16927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VERY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1" u="none" strike="noStrike" kern="1200" cap="none" spc="0" normalizeH="0" baseline="0" noProof="0" dirty="0">
                <a:ln>
                  <a:noFill/>
                </a:ln>
                <a:solidFill>
                  <a:srgbClr val="F9D3D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Vijaya" panose="020B0502040204020203" pitchFamily="18" charset="0"/>
              </a:rPr>
              <a:t>Minute</a:t>
            </a:r>
            <a:endParaRPr kumimoji="0" lang="en-GB" sz="2400" b="1" i="1" u="none" strike="noStrike" kern="1200" cap="none" spc="0" normalizeH="0" baseline="0" noProof="0" dirty="0">
              <a:ln>
                <a:noFill/>
              </a:ln>
              <a:solidFill>
                <a:srgbClr val="F9D3D1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Vijaya" panose="020B0502040204020203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F3A6A3">
                    <a:lumMod val="20000"/>
                    <a:lumOff val="8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F THE DAY</a:t>
            </a: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E7E25F76-89F9-4483-A43E-C14460EC379F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B0C960-9455-CFC7-3AF1-925714193212}"/>
              </a:ext>
            </a:extLst>
          </p:cNvPr>
          <p:cNvSpPr txBox="1"/>
          <p:nvPr/>
        </p:nvSpPr>
        <p:spPr>
          <a:xfrm>
            <a:off x="4341729" y="285065"/>
            <a:ext cx="107689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50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WEETS SENT</a:t>
            </a:r>
          </a:p>
        </p:txBody>
      </p:sp>
      <p:pic>
        <p:nvPicPr>
          <p:cNvPr id="1028" name="Picture 4" descr="X Logo, symbol, meaning, history, PNG, brand">
            <a:extLst>
              <a:ext uri="{FF2B5EF4-FFF2-40B4-BE49-F238E27FC236}">
                <a16:creationId xmlns:a16="http://schemas.microsoft.com/office/drawing/2014/main" id="{0D500E6F-8747-E00C-214D-8191642719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9330" y="1337993"/>
            <a:ext cx="577443" cy="324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3A8386D-A9B3-5534-FA6D-0EC702ED9AA7}"/>
              </a:ext>
            </a:extLst>
          </p:cNvPr>
          <p:cNvSpPr txBox="1"/>
          <p:nvPr/>
        </p:nvSpPr>
        <p:spPr>
          <a:xfrm>
            <a:off x="5315166" y="5707955"/>
            <a:ext cx="107689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.5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NAPCHATS CREAT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1798A75-D021-F35F-AE92-D7B258EBD05E}"/>
              </a:ext>
            </a:extLst>
          </p:cNvPr>
          <p:cNvSpPr txBox="1"/>
          <p:nvPr/>
        </p:nvSpPr>
        <p:spPr>
          <a:xfrm>
            <a:off x="2366068" y="4060754"/>
            <a:ext cx="117695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15.7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ARCHES ON PINTRES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60F2791-C5B9-E43E-0561-B3D595070F19}"/>
              </a:ext>
            </a:extLst>
          </p:cNvPr>
          <p:cNvSpPr txBox="1"/>
          <p:nvPr/>
        </p:nvSpPr>
        <p:spPr>
          <a:xfrm>
            <a:off x="1490456" y="2914465"/>
            <a:ext cx="184915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6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OTOS AND VIDEOS ON INSTAGRA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50BD41-072B-FD93-64A2-064586D3759E}"/>
              </a:ext>
            </a:extLst>
          </p:cNvPr>
          <p:cNvSpPr txBox="1"/>
          <p:nvPr/>
        </p:nvSpPr>
        <p:spPr>
          <a:xfrm>
            <a:off x="3332042" y="875611"/>
            <a:ext cx="138280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.1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OPLE ACTIVE ON FACEBOOK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CF21797-BAAE-7941-0874-F008C8BD4C36}"/>
              </a:ext>
            </a:extLst>
          </p:cNvPr>
          <p:cNvSpPr txBox="1"/>
          <p:nvPr/>
        </p:nvSpPr>
        <p:spPr>
          <a:xfrm>
            <a:off x="8957759" y="2870844"/>
            <a:ext cx="138280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0.8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TIVE USERS ON LINKEDI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32263C2-5374-6C64-2F11-1EFDA170210D}"/>
              </a:ext>
            </a:extLst>
          </p:cNvPr>
          <p:cNvSpPr txBox="1"/>
          <p:nvPr/>
        </p:nvSpPr>
        <p:spPr>
          <a:xfrm>
            <a:off x="5228449" y="151449"/>
            <a:ext cx="138280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6.2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S SE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BEBAF33-8F97-F738-156A-BFD9ECB13674}"/>
              </a:ext>
            </a:extLst>
          </p:cNvPr>
          <p:cNvSpPr txBox="1"/>
          <p:nvPr/>
        </p:nvSpPr>
        <p:spPr>
          <a:xfrm>
            <a:off x="8145122" y="875611"/>
            <a:ext cx="138280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.3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OOGLE SEARCHES</a:t>
            </a:r>
          </a:p>
        </p:txBody>
      </p:sp>
      <p:pic>
        <p:nvPicPr>
          <p:cNvPr id="1030" name="Picture 6" descr="Yelp - Free social media icons">
            <a:extLst>
              <a:ext uri="{FF2B5EF4-FFF2-40B4-BE49-F238E27FC236}">
                <a16:creationId xmlns:a16="http://schemas.microsoft.com/office/drawing/2014/main" id="{0587AB65-DAA8-FDE1-E16A-25702D2C4A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9407" y="2253158"/>
            <a:ext cx="544632" cy="544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4EC4EA2-3963-F8F6-8917-DF93B388A730}"/>
              </a:ext>
            </a:extLst>
          </p:cNvPr>
          <p:cNvSpPr txBox="1"/>
          <p:nvPr/>
        </p:nvSpPr>
        <p:spPr>
          <a:xfrm>
            <a:off x="2272984" y="1630053"/>
            <a:ext cx="138280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OPLE READING YELP REVIEWS</a:t>
            </a:r>
          </a:p>
        </p:txBody>
      </p:sp>
      <p:sp>
        <p:nvSpPr>
          <p:cNvPr id="28" name="Location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E880BD4-A0F9-C857-5B11-48EBF0689EAC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6469627" y="1087560"/>
            <a:ext cx="302114" cy="430129"/>
          </a:xfrm>
          <a:custGeom>
            <a:avLst/>
            <a:gdLst>
              <a:gd name="T0" fmla="*/ 261 w 522"/>
              <a:gd name="T1" fmla="*/ 0 h 741"/>
              <a:gd name="T2" fmla="*/ 0 w 522"/>
              <a:gd name="T3" fmla="*/ 261 h 741"/>
              <a:gd name="T4" fmla="*/ 261 w 522"/>
              <a:gd name="T5" fmla="*/ 740 h 741"/>
              <a:gd name="T6" fmla="*/ 521 w 522"/>
              <a:gd name="T7" fmla="*/ 261 h 741"/>
              <a:gd name="T8" fmla="*/ 261 w 522"/>
              <a:gd name="T9" fmla="*/ 0 h 741"/>
              <a:gd name="T10" fmla="*/ 261 w 522"/>
              <a:gd name="T11" fmla="*/ 353 h 741"/>
              <a:gd name="T12" fmla="*/ 169 w 522"/>
              <a:gd name="T13" fmla="*/ 261 h 741"/>
              <a:gd name="T14" fmla="*/ 261 w 522"/>
              <a:gd name="T15" fmla="*/ 170 h 741"/>
              <a:gd name="T16" fmla="*/ 352 w 522"/>
              <a:gd name="T17" fmla="*/ 261 h 741"/>
              <a:gd name="T18" fmla="*/ 261 w 522"/>
              <a:gd name="T19" fmla="*/ 353 h 7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22" h="741">
                <a:moveTo>
                  <a:pt x="261" y="0"/>
                </a:moveTo>
                <a:cubicBezTo>
                  <a:pt x="120" y="0"/>
                  <a:pt x="0" y="113"/>
                  <a:pt x="0" y="261"/>
                </a:cubicBezTo>
                <a:cubicBezTo>
                  <a:pt x="0" y="451"/>
                  <a:pt x="261" y="740"/>
                  <a:pt x="261" y="740"/>
                </a:cubicBezTo>
                <a:cubicBezTo>
                  <a:pt x="261" y="740"/>
                  <a:pt x="521" y="451"/>
                  <a:pt x="521" y="261"/>
                </a:cubicBezTo>
                <a:cubicBezTo>
                  <a:pt x="521" y="113"/>
                  <a:pt x="402" y="0"/>
                  <a:pt x="261" y="0"/>
                </a:cubicBezTo>
                <a:close/>
                <a:moveTo>
                  <a:pt x="261" y="353"/>
                </a:moveTo>
                <a:cubicBezTo>
                  <a:pt x="211" y="353"/>
                  <a:pt x="169" y="314"/>
                  <a:pt x="169" y="261"/>
                </a:cubicBezTo>
                <a:cubicBezTo>
                  <a:pt x="169" y="208"/>
                  <a:pt x="211" y="170"/>
                  <a:pt x="261" y="170"/>
                </a:cubicBezTo>
                <a:cubicBezTo>
                  <a:pt x="310" y="170"/>
                  <a:pt x="352" y="208"/>
                  <a:pt x="352" y="261"/>
                </a:cubicBezTo>
                <a:cubicBezTo>
                  <a:pt x="352" y="314"/>
                  <a:pt x="310" y="353"/>
                  <a:pt x="261" y="35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9D1B154-BE2D-A47D-8055-710031A10970}"/>
              </a:ext>
            </a:extLst>
          </p:cNvPr>
          <p:cNvSpPr txBox="1"/>
          <p:nvPr/>
        </p:nvSpPr>
        <p:spPr>
          <a:xfrm>
            <a:off x="6258825" y="151449"/>
            <a:ext cx="137637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74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S DOWN-LOADED</a:t>
            </a:r>
          </a:p>
        </p:txBody>
      </p:sp>
      <p:pic>
        <p:nvPicPr>
          <p:cNvPr id="1046" name="Picture 22" descr="Facebook Live icon PNG and SVG Vector Free Download">
            <a:extLst>
              <a:ext uri="{FF2B5EF4-FFF2-40B4-BE49-F238E27FC236}">
                <a16:creationId xmlns:a16="http://schemas.microsoft.com/office/drawing/2014/main" id="{F3DDE24A-6976-DAF5-EB68-B026AAA20D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1209" y="5163897"/>
            <a:ext cx="397623" cy="450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8" name="Picture 34" descr="Logo and Brand Assets — Spotify">
            <a:extLst>
              <a:ext uri="{FF2B5EF4-FFF2-40B4-BE49-F238E27FC236}">
                <a16:creationId xmlns:a16="http://schemas.microsoft.com/office/drawing/2014/main" id="{31D73782-C289-75C8-7A4E-4D7E11D192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9075" y="1404669"/>
            <a:ext cx="392567" cy="393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39" name="TextBox 3138">
            <a:extLst>
              <a:ext uri="{FF2B5EF4-FFF2-40B4-BE49-F238E27FC236}">
                <a16:creationId xmlns:a16="http://schemas.microsoft.com/office/drawing/2014/main" id="{0CE3FA4C-0164-F763-D572-0AF43DA483F7}"/>
              </a:ext>
            </a:extLst>
          </p:cNvPr>
          <p:cNvSpPr txBox="1"/>
          <p:nvPr/>
        </p:nvSpPr>
        <p:spPr>
          <a:xfrm>
            <a:off x="4269753" y="5623522"/>
            <a:ext cx="107689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25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DEOS WATCHED ON TIKTOK</a:t>
            </a:r>
          </a:p>
        </p:txBody>
      </p:sp>
      <p:sp>
        <p:nvSpPr>
          <p:cNvPr id="3141" name="TextBox 3140">
            <a:extLst>
              <a:ext uri="{FF2B5EF4-FFF2-40B4-BE49-F238E27FC236}">
                <a16:creationId xmlns:a16="http://schemas.microsoft.com/office/drawing/2014/main" id="{8E9EC936-3446-AD7A-FB8B-03BC3BB455ED}"/>
              </a:ext>
            </a:extLst>
          </p:cNvPr>
          <p:cNvSpPr txBox="1"/>
          <p:nvPr/>
        </p:nvSpPr>
        <p:spPr>
          <a:xfrm>
            <a:off x="3196109" y="4827779"/>
            <a:ext cx="107689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52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URS OF CONTENT STREAMED</a:t>
            </a:r>
          </a:p>
        </p:txBody>
      </p:sp>
      <p:sp>
        <p:nvSpPr>
          <p:cNvPr id="3143" name="TextBox 3142">
            <a:extLst>
              <a:ext uri="{FF2B5EF4-FFF2-40B4-BE49-F238E27FC236}">
                <a16:creationId xmlns:a16="http://schemas.microsoft.com/office/drawing/2014/main" id="{B900B373-8B87-F157-1897-D15182EFA951}"/>
              </a:ext>
            </a:extLst>
          </p:cNvPr>
          <p:cNvSpPr txBox="1"/>
          <p:nvPr/>
        </p:nvSpPr>
        <p:spPr>
          <a:xfrm>
            <a:off x="6411137" y="5707955"/>
            <a:ext cx="107689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4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EWING FACEBOOK LIVE</a:t>
            </a:r>
          </a:p>
        </p:txBody>
      </p:sp>
      <p:sp>
        <p:nvSpPr>
          <p:cNvPr id="3144" name="TextBox 3143">
            <a:extLst>
              <a:ext uri="{FF2B5EF4-FFF2-40B4-BE49-F238E27FC236}">
                <a16:creationId xmlns:a16="http://schemas.microsoft.com/office/drawing/2014/main" id="{DFF934AB-3B63-B744-B970-0F037003E4AE}"/>
              </a:ext>
            </a:extLst>
          </p:cNvPr>
          <p:cNvSpPr txBox="1"/>
          <p:nvPr/>
        </p:nvSpPr>
        <p:spPr>
          <a:xfrm>
            <a:off x="7375224" y="5388216"/>
            <a:ext cx="107689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.47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OUTUBE VIDEOS WATCHED</a:t>
            </a:r>
          </a:p>
        </p:txBody>
      </p:sp>
      <p:sp>
        <p:nvSpPr>
          <p:cNvPr id="3145" name="Paper_plan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9C6BAA6-AA87-72E7-21CF-82D7FF02F41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70463" y="4420800"/>
            <a:ext cx="516085" cy="320948"/>
          </a:xfrm>
          <a:custGeom>
            <a:avLst/>
            <a:gdLst>
              <a:gd name="T0" fmla="*/ 760 w 1067"/>
              <a:gd name="T1" fmla="*/ 547 h 662"/>
              <a:gd name="T2" fmla="*/ 483 w 1067"/>
              <a:gd name="T3" fmla="*/ 414 h 662"/>
              <a:gd name="T4" fmla="*/ 1006 w 1067"/>
              <a:gd name="T5" fmla="*/ 67 h 662"/>
              <a:gd name="T6" fmla="*/ 760 w 1067"/>
              <a:gd name="T7" fmla="*/ 547 h 662"/>
              <a:gd name="T8" fmla="*/ 438 w 1067"/>
              <a:gd name="T9" fmla="*/ 598 h 662"/>
              <a:gd name="T10" fmla="*/ 463 w 1067"/>
              <a:gd name="T11" fmla="*/ 441 h 662"/>
              <a:gd name="T12" fmla="*/ 554 w 1067"/>
              <a:gd name="T13" fmla="*/ 485 h 662"/>
              <a:gd name="T14" fmla="*/ 438 w 1067"/>
              <a:gd name="T15" fmla="*/ 598 h 662"/>
              <a:gd name="T16" fmla="*/ 872 w 1067"/>
              <a:gd name="T17" fmla="*/ 78 h 662"/>
              <a:gd name="T18" fmla="*/ 311 w 1067"/>
              <a:gd name="T19" fmla="*/ 327 h 662"/>
              <a:gd name="T20" fmla="*/ 86 w 1067"/>
              <a:gd name="T21" fmla="*/ 271 h 662"/>
              <a:gd name="T22" fmla="*/ 872 w 1067"/>
              <a:gd name="T23" fmla="*/ 78 h 662"/>
              <a:gd name="T24" fmla="*/ 440 w 1067"/>
              <a:gd name="T25" fmla="*/ 402 h 662"/>
              <a:gd name="T26" fmla="*/ 440 w 1067"/>
              <a:gd name="T27" fmla="*/ 402 h 662"/>
              <a:gd name="T28" fmla="*/ 439 w 1067"/>
              <a:gd name="T29" fmla="*/ 403 h 662"/>
              <a:gd name="T30" fmla="*/ 436 w 1067"/>
              <a:gd name="T31" fmla="*/ 407 h 662"/>
              <a:gd name="T32" fmla="*/ 435 w 1067"/>
              <a:gd name="T33" fmla="*/ 408 h 662"/>
              <a:gd name="T34" fmla="*/ 433 w 1067"/>
              <a:gd name="T35" fmla="*/ 413 h 662"/>
              <a:gd name="T36" fmla="*/ 433 w 1067"/>
              <a:gd name="T37" fmla="*/ 414 h 662"/>
              <a:gd name="T38" fmla="*/ 408 w 1067"/>
              <a:gd name="T39" fmla="*/ 576 h 662"/>
              <a:gd name="T40" fmla="*/ 333 w 1067"/>
              <a:gd name="T41" fmla="*/ 354 h 662"/>
              <a:gd name="T42" fmla="*/ 877 w 1067"/>
              <a:gd name="T43" fmla="*/ 113 h 662"/>
              <a:gd name="T44" fmla="*/ 440 w 1067"/>
              <a:gd name="T45" fmla="*/ 402 h 662"/>
              <a:gd name="T46" fmla="*/ 1065 w 1067"/>
              <a:gd name="T47" fmla="*/ 11 h 662"/>
              <a:gd name="T48" fmla="*/ 1064 w 1067"/>
              <a:gd name="T49" fmla="*/ 9 h 662"/>
              <a:gd name="T50" fmla="*/ 1046 w 1067"/>
              <a:gd name="T51" fmla="*/ 2 h 662"/>
              <a:gd name="T52" fmla="*/ 13 w 1067"/>
              <a:gd name="T53" fmla="*/ 254 h 662"/>
              <a:gd name="T54" fmla="*/ 0 w 1067"/>
              <a:gd name="T55" fmla="*/ 270 h 662"/>
              <a:gd name="T56" fmla="*/ 13 w 1067"/>
              <a:gd name="T57" fmla="*/ 286 h 662"/>
              <a:gd name="T58" fmla="*/ 299 w 1067"/>
              <a:gd name="T59" fmla="*/ 359 h 662"/>
              <a:gd name="T60" fmla="*/ 398 w 1067"/>
              <a:gd name="T61" fmla="*/ 651 h 662"/>
              <a:gd name="T62" fmla="*/ 399 w 1067"/>
              <a:gd name="T63" fmla="*/ 651 h 662"/>
              <a:gd name="T64" fmla="*/ 399 w 1067"/>
              <a:gd name="T65" fmla="*/ 653 h 662"/>
              <a:gd name="T66" fmla="*/ 402 w 1067"/>
              <a:gd name="T67" fmla="*/ 657 h 662"/>
              <a:gd name="T68" fmla="*/ 402 w 1067"/>
              <a:gd name="T69" fmla="*/ 657 h 662"/>
              <a:gd name="T70" fmla="*/ 403 w 1067"/>
              <a:gd name="T71" fmla="*/ 658 h 662"/>
              <a:gd name="T72" fmla="*/ 407 w 1067"/>
              <a:gd name="T73" fmla="*/ 660 h 662"/>
              <a:gd name="T74" fmla="*/ 408 w 1067"/>
              <a:gd name="T75" fmla="*/ 661 h 662"/>
              <a:gd name="T76" fmla="*/ 414 w 1067"/>
              <a:gd name="T77" fmla="*/ 662 h 662"/>
              <a:gd name="T78" fmla="*/ 414 w 1067"/>
              <a:gd name="T79" fmla="*/ 662 h 662"/>
              <a:gd name="T80" fmla="*/ 414 w 1067"/>
              <a:gd name="T81" fmla="*/ 662 h 662"/>
              <a:gd name="T82" fmla="*/ 414 w 1067"/>
              <a:gd name="T83" fmla="*/ 662 h 662"/>
              <a:gd name="T84" fmla="*/ 416 w 1067"/>
              <a:gd name="T85" fmla="*/ 662 h 662"/>
              <a:gd name="T86" fmla="*/ 419 w 1067"/>
              <a:gd name="T87" fmla="*/ 661 h 662"/>
              <a:gd name="T88" fmla="*/ 421 w 1067"/>
              <a:gd name="T89" fmla="*/ 661 h 662"/>
              <a:gd name="T90" fmla="*/ 426 w 1067"/>
              <a:gd name="T91" fmla="*/ 658 h 662"/>
              <a:gd name="T92" fmla="*/ 426 w 1067"/>
              <a:gd name="T93" fmla="*/ 657 h 662"/>
              <a:gd name="T94" fmla="*/ 586 w 1067"/>
              <a:gd name="T95" fmla="*/ 500 h 662"/>
              <a:gd name="T96" fmla="*/ 760 w 1067"/>
              <a:gd name="T97" fmla="*/ 584 h 662"/>
              <a:gd name="T98" fmla="*/ 767 w 1067"/>
              <a:gd name="T99" fmla="*/ 585 h 662"/>
              <a:gd name="T100" fmla="*/ 782 w 1067"/>
              <a:gd name="T101" fmla="*/ 576 h 662"/>
              <a:gd name="T102" fmla="*/ 1065 w 1067"/>
              <a:gd name="T103" fmla="*/ 26 h 662"/>
              <a:gd name="T104" fmla="*/ 1066 w 1067"/>
              <a:gd name="T105" fmla="*/ 24 h 662"/>
              <a:gd name="T106" fmla="*/ 1067 w 1067"/>
              <a:gd name="T107" fmla="*/ 20 h 662"/>
              <a:gd name="T108" fmla="*/ 1067 w 1067"/>
              <a:gd name="T109" fmla="*/ 20 h 662"/>
              <a:gd name="T110" fmla="*/ 1065 w 1067"/>
              <a:gd name="T111" fmla="*/ 11 h 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67" h="662">
                <a:moveTo>
                  <a:pt x="760" y="547"/>
                </a:moveTo>
                <a:lnTo>
                  <a:pt x="483" y="414"/>
                </a:lnTo>
                <a:lnTo>
                  <a:pt x="1006" y="67"/>
                </a:lnTo>
                <a:lnTo>
                  <a:pt x="760" y="547"/>
                </a:lnTo>
                <a:close/>
                <a:moveTo>
                  <a:pt x="438" y="598"/>
                </a:moveTo>
                <a:lnTo>
                  <a:pt x="463" y="441"/>
                </a:lnTo>
                <a:lnTo>
                  <a:pt x="554" y="485"/>
                </a:lnTo>
                <a:lnTo>
                  <a:pt x="438" y="598"/>
                </a:lnTo>
                <a:close/>
                <a:moveTo>
                  <a:pt x="872" y="78"/>
                </a:moveTo>
                <a:lnTo>
                  <a:pt x="311" y="327"/>
                </a:lnTo>
                <a:lnTo>
                  <a:pt x="86" y="271"/>
                </a:lnTo>
                <a:lnTo>
                  <a:pt x="872" y="78"/>
                </a:lnTo>
                <a:close/>
                <a:moveTo>
                  <a:pt x="440" y="402"/>
                </a:moveTo>
                <a:cubicBezTo>
                  <a:pt x="440" y="402"/>
                  <a:pt x="440" y="402"/>
                  <a:pt x="440" y="402"/>
                </a:cubicBezTo>
                <a:cubicBezTo>
                  <a:pt x="440" y="403"/>
                  <a:pt x="440" y="403"/>
                  <a:pt x="439" y="403"/>
                </a:cubicBezTo>
                <a:cubicBezTo>
                  <a:pt x="438" y="404"/>
                  <a:pt x="437" y="405"/>
                  <a:pt x="436" y="407"/>
                </a:cubicBezTo>
                <a:cubicBezTo>
                  <a:pt x="436" y="407"/>
                  <a:pt x="435" y="407"/>
                  <a:pt x="435" y="408"/>
                </a:cubicBezTo>
                <a:cubicBezTo>
                  <a:pt x="434" y="410"/>
                  <a:pt x="434" y="411"/>
                  <a:pt x="433" y="413"/>
                </a:cubicBezTo>
                <a:lnTo>
                  <a:pt x="433" y="414"/>
                </a:lnTo>
                <a:lnTo>
                  <a:pt x="408" y="576"/>
                </a:lnTo>
                <a:lnTo>
                  <a:pt x="333" y="354"/>
                </a:lnTo>
                <a:lnTo>
                  <a:pt x="877" y="113"/>
                </a:lnTo>
                <a:lnTo>
                  <a:pt x="440" y="402"/>
                </a:lnTo>
                <a:close/>
                <a:moveTo>
                  <a:pt x="1065" y="11"/>
                </a:moveTo>
                <a:cubicBezTo>
                  <a:pt x="1065" y="10"/>
                  <a:pt x="1065" y="10"/>
                  <a:pt x="1064" y="9"/>
                </a:cubicBezTo>
                <a:cubicBezTo>
                  <a:pt x="1061" y="3"/>
                  <a:pt x="1053" y="0"/>
                  <a:pt x="1046" y="2"/>
                </a:cubicBezTo>
                <a:lnTo>
                  <a:pt x="13" y="254"/>
                </a:lnTo>
                <a:cubicBezTo>
                  <a:pt x="6" y="256"/>
                  <a:pt x="0" y="263"/>
                  <a:pt x="0" y="270"/>
                </a:cubicBezTo>
                <a:cubicBezTo>
                  <a:pt x="0" y="278"/>
                  <a:pt x="5" y="285"/>
                  <a:pt x="13" y="286"/>
                </a:cubicBezTo>
                <a:lnTo>
                  <a:pt x="299" y="359"/>
                </a:lnTo>
                <a:lnTo>
                  <a:pt x="398" y="651"/>
                </a:lnTo>
                <a:cubicBezTo>
                  <a:pt x="399" y="651"/>
                  <a:pt x="399" y="651"/>
                  <a:pt x="399" y="651"/>
                </a:cubicBezTo>
                <a:cubicBezTo>
                  <a:pt x="399" y="652"/>
                  <a:pt x="399" y="652"/>
                  <a:pt x="399" y="653"/>
                </a:cubicBezTo>
                <a:cubicBezTo>
                  <a:pt x="400" y="654"/>
                  <a:pt x="401" y="655"/>
                  <a:pt x="402" y="657"/>
                </a:cubicBezTo>
                <a:cubicBezTo>
                  <a:pt x="402" y="657"/>
                  <a:pt x="402" y="657"/>
                  <a:pt x="402" y="657"/>
                </a:cubicBezTo>
                <a:cubicBezTo>
                  <a:pt x="403" y="658"/>
                  <a:pt x="403" y="658"/>
                  <a:pt x="403" y="658"/>
                </a:cubicBezTo>
                <a:cubicBezTo>
                  <a:pt x="404" y="659"/>
                  <a:pt x="406" y="660"/>
                  <a:pt x="407" y="660"/>
                </a:cubicBezTo>
                <a:cubicBezTo>
                  <a:pt x="407" y="661"/>
                  <a:pt x="408" y="661"/>
                  <a:pt x="408" y="661"/>
                </a:cubicBezTo>
                <a:cubicBezTo>
                  <a:pt x="410" y="662"/>
                  <a:pt x="412" y="662"/>
                  <a:pt x="414" y="662"/>
                </a:cubicBezTo>
                <a:lnTo>
                  <a:pt x="414" y="662"/>
                </a:lnTo>
                <a:lnTo>
                  <a:pt x="414" y="662"/>
                </a:lnTo>
                <a:lnTo>
                  <a:pt x="414" y="662"/>
                </a:lnTo>
                <a:cubicBezTo>
                  <a:pt x="415" y="662"/>
                  <a:pt x="415" y="662"/>
                  <a:pt x="416" y="662"/>
                </a:cubicBezTo>
                <a:cubicBezTo>
                  <a:pt x="417" y="662"/>
                  <a:pt x="418" y="662"/>
                  <a:pt x="419" y="661"/>
                </a:cubicBezTo>
                <a:cubicBezTo>
                  <a:pt x="419" y="661"/>
                  <a:pt x="420" y="661"/>
                  <a:pt x="421" y="661"/>
                </a:cubicBezTo>
                <a:cubicBezTo>
                  <a:pt x="423" y="660"/>
                  <a:pt x="424" y="659"/>
                  <a:pt x="426" y="658"/>
                </a:cubicBezTo>
                <a:cubicBezTo>
                  <a:pt x="426" y="657"/>
                  <a:pt x="426" y="657"/>
                  <a:pt x="426" y="657"/>
                </a:cubicBezTo>
                <a:lnTo>
                  <a:pt x="586" y="500"/>
                </a:lnTo>
                <a:lnTo>
                  <a:pt x="760" y="584"/>
                </a:lnTo>
                <a:cubicBezTo>
                  <a:pt x="762" y="585"/>
                  <a:pt x="765" y="585"/>
                  <a:pt x="767" y="585"/>
                </a:cubicBezTo>
                <a:cubicBezTo>
                  <a:pt x="773" y="585"/>
                  <a:pt x="779" y="582"/>
                  <a:pt x="782" y="576"/>
                </a:cubicBezTo>
                <a:lnTo>
                  <a:pt x="1065" y="26"/>
                </a:lnTo>
                <a:cubicBezTo>
                  <a:pt x="1065" y="25"/>
                  <a:pt x="1066" y="24"/>
                  <a:pt x="1066" y="24"/>
                </a:cubicBezTo>
                <a:cubicBezTo>
                  <a:pt x="1066" y="22"/>
                  <a:pt x="1067" y="21"/>
                  <a:pt x="1067" y="20"/>
                </a:cubicBezTo>
                <a:lnTo>
                  <a:pt x="1067" y="20"/>
                </a:lnTo>
                <a:cubicBezTo>
                  <a:pt x="1067" y="17"/>
                  <a:pt x="1067" y="14"/>
                  <a:pt x="1065" y="11"/>
                </a:cubicBezTo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47" name="TextBox 3146">
            <a:extLst>
              <a:ext uri="{FF2B5EF4-FFF2-40B4-BE49-F238E27FC236}">
                <a16:creationId xmlns:a16="http://schemas.microsoft.com/office/drawing/2014/main" id="{CF35269B-BA00-E2EA-17D0-3C8B31F71C86}"/>
              </a:ext>
            </a:extLst>
          </p:cNvPr>
          <p:cNvSpPr txBox="1"/>
          <p:nvPr/>
        </p:nvSpPr>
        <p:spPr>
          <a:xfrm>
            <a:off x="8054992" y="4733502"/>
            <a:ext cx="124494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31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MAILS SENT</a:t>
            </a:r>
          </a:p>
        </p:txBody>
      </p:sp>
      <p:sp>
        <p:nvSpPr>
          <p:cNvPr id="3149" name="TextBox 3148">
            <a:extLst>
              <a:ext uri="{FF2B5EF4-FFF2-40B4-BE49-F238E27FC236}">
                <a16:creationId xmlns:a16="http://schemas.microsoft.com/office/drawing/2014/main" id="{4AD993C9-6DBF-2A1E-69BC-9D1DF238AE70}"/>
              </a:ext>
            </a:extLst>
          </p:cNvPr>
          <p:cNvSpPr txBox="1"/>
          <p:nvPr/>
        </p:nvSpPr>
        <p:spPr>
          <a:xfrm>
            <a:off x="7306169" y="285065"/>
            <a:ext cx="124494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3.2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TIVE ON SPOTIFY</a:t>
            </a:r>
          </a:p>
        </p:txBody>
      </p:sp>
      <p:sp>
        <p:nvSpPr>
          <p:cNvPr id="3150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94A1843-1598-2068-C08F-E0428F7CBEFB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7896873" y="3786395"/>
            <a:ext cx="432057" cy="430129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51" name="TextBox 3150">
            <a:extLst>
              <a:ext uri="{FF2B5EF4-FFF2-40B4-BE49-F238E27FC236}">
                <a16:creationId xmlns:a16="http://schemas.microsoft.com/office/drawing/2014/main" id="{EB8D8B56-DF09-E7BB-0261-2FED9570134B}"/>
              </a:ext>
            </a:extLst>
          </p:cNvPr>
          <p:cNvSpPr txBox="1"/>
          <p:nvPr/>
        </p:nvSpPr>
        <p:spPr>
          <a:xfrm>
            <a:off x="8835563" y="3874225"/>
            <a:ext cx="138280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OPPING ONLINE</a:t>
            </a:r>
          </a:p>
        </p:txBody>
      </p:sp>
      <p:grpSp>
        <p:nvGrpSpPr>
          <p:cNvPr id="3162" name="Polaroid_camera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5E27208-D9BF-CF5E-7B64-E5CB0ABCF7A5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7899356" y="2508241"/>
            <a:ext cx="355628" cy="355478"/>
            <a:chOff x="4543" y="887"/>
            <a:chExt cx="2383" cy="2382"/>
          </a:xfrm>
          <a:noFill/>
        </p:grpSpPr>
        <p:sp>
          <p:nvSpPr>
            <p:cNvPr id="3163" name="Freeform 512">
              <a:extLst>
                <a:ext uri="{FF2B5EF4-FFF2-40B4-BE49-F238E27FC236}">
                  <a16:creationId xmlns:a16="http://schemas.microsoft.com/office/drawing/2014/main" id="{9C20FE86-AE7B-EBFE-9388-27C4ACB77B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8" y="887"/>
              <a:ext cx="2117" cy="1523"/>
            </a:xfrm>
            <a:custGeom>
              <a:avLst/>
              <a:gdLst>
                <a:gd name="T0" fmla="*/ 500 w 533"/>
                <a:gd name="T1" fmla="*/ 108 h 383"/>
                <a:gd name="T2" fmla="*/ 475 w 533"/>
                <a:gd name="T3" fmla="*/ 133 h 383"/>
                <a:gd name="T4" fmla="*/ 425 w 533"/>
                <a:gd name="T5" fmla="*/ 133 h 383"/>
                <a:gd name="T6" fmla="*/ 400 w 533"/>
                <a:gd name="T7" fmla="*/ 108 h 383"/>
                <a:gd name="T8" fmla="*/ 400 w 533"/>
                <a:gd name="T9" fmla="*/ 58 h 383"/>
                <a:gd name="T10" fmla="*/ 425 w 533"/>
                <a:gd name="T11" fmla="*/ 33 h 383"/>
                <a:gd name="T12" fmla="*/ 475 w 533"/>
                <a:gd name="T13" fmla="*/ 33 h 383"/>
                <a:gd name="T14" fmla="*/ 500 w 533"/>
                <a:gd name="T15" fmla="*/ 58 h 383"/>
                <a:gd name="T16" fmla="*/ 500 w 533"/>
                <a:gd name="T17" fmla="*/ 108 h 383"/>
                <a:gd name="T18" fmla="*/ 266 w 533"/>
                <a:gd name="T19" fmla="*/ 349 h 383"/>
                <a:gd name="T20" fmla="*/ 133 w 533"/>
                <a:gd name="T21" fmla="*/ 216 h 383"/>
                <a:gd name="T22" fmla="*/ 266 w 533"/>
                <a:gd name="T23" fmla="*/ 83 h 383"/>
                <a:gd name="T24" fmla="*/ 400 w 533"/>
                <a:gd name="T25" fmla="*/ 216 h 383"/>
                <a:gd name="T26" fmla="*/ 266 w 533"/>
                <a:gd name="T27" fmla="*/ 349 h 383"/>
                <a:gd name="T28" fmla="*/ 75 w 533"/>
                <a:gd name="T29" fmla="*/ 349 h 383"/>
                <a:gd name="T30" fmla="*/ 33 w 533"/>
                <a:gd name="T31" fmla="*/ 308 h 383"/>
                <a:gd name="T32" fmla="*/ 75 w 533"/>
                <a:gd name="T33" fmla="*/ 266 h 383"/>
                <a:gd name="T34" fmla="*/ 116 w 533"/>
                <a:gd name="T35" fmla="*/ 308 h 383"/>
                <a:gd name="T36" fmla="*/ 75 w 533"/>
                <a:gd name="T37" fmla="*/ 349 h 383"/>
                <a:gd name="T38" fmla="*/ 533 w 533"/>
                <a:gd name="T39" fmla="*/ 34 h 383"/>
                <a:gd name="T40" fmla="*/ 500 w 533"/>
                <a:gd name="T41" fmla="*/ 0 h 383"/>
                <a:gd name="T42" fmla="*/ 33 w 533"/>
                <a:gd name="T43" fmla="*/ 0 h 383"/>
                <a:gd name="T44" fmla="*/ 0 w 533"/>
                <a:gd name="T45" fmla="*/ 34 h 383"/>
                <a:gd name="T46" fmla="*/ 0 w 533"/>
                <a:gd name="T47" fmla="*/ 383 h 383"/>
                <a:gd name="T48" fmla="*/ 533 w 533"/>
                <a:gd name="T49" fmla="*/ 383 h 383"/>
                <a:gd name="T50" fmla="*/ 533 w 533"/>
                <a:gd name="T51" fmla="*/ 34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33" h="383">
                  <a:moveTo>
                    <a:pt x="500" y="108"/>
                  </a:moveTo>
                  <a:cubicBezTo>
                    <a:pt x="500" y="121"/>
                    <a:pt x="488" y="133"/>
                    <a:pt x="475" y="133"/>
                  </a:cubicBezTo>
                  <a:lnTo>
                    <a:pt x="425" y="133"/>
                  </a:lnTo>
                  <a:cubicBezTo>
                    <a:pt x="411" y="133"/>
                    <a:pt x="400" y="121"/>
                    <a:pt x="400" y="108"/>
                  </a:cubicBezTo>
                  <a:lnTo>
                    <a:pt x="400" y="58"/>
                  </a:lnTo>
                  <a:cubicBezTo>
                    <a:pt x="400" y="44"/>
                    <a:pt x="411" y="33"/>
                    <a:pt x="425" y="33"/>
                  </a:cubicBezTo>
                  <a:lnTo>
                    <a:pt x="475" y="33"/>
                  </a:lnTo>
                  <a:cubicBezTo>
                    <a:pt x="488" y="33"/>
                    <a:pt x="500" y="44"/>
                    <a:pt x="500" y="58"/>
                  </a:cubicBezTo>
                  <a:lnTo>
                    <a:pt x="500" y="108"/>
                  </a:lnTo>
                  <a:close/>
                  <a:moveTo>
                    <a:pt x="266" y="349"/>
                  </a:moveTo>
                  <a:cubicBezTo>
                    <a:pt x="193" y="349"/>
                    <a:pt x="133" y="290"/>
                    <a:pt x="133" y="216"/>
                  </a:cubicBezTo>
                  <a:cubicBezTo>
                    <a:pt x="133" y="142"/>
                    <a:pt x="193" y="83"/>
                    <a:pt x="266" y="83"/>
                  </a:cubicBezTo>
                  <a:cubicBezTo>
                    <a:pt x="340" y="83"/>
                    <a:pt x="400" y="142"/>
                    <a:pt x="400" y="216"/>
                  </a:cubicBezTo>
                  <a:cubicBezTo>
                    <a:pt x="400" y="290"/>
                    <a:pt x="340" y="349"/>
                    <a:pt x="266" y="349"/>
                  </a:cubicBezTo>
                  <a:close/>
                  <a:moveTo>
                    <a:pt x="75" y="349"/>
                  </a:moveTo>
                  <a:cubicBezTo>
                    <a:pt x="52" y="349"/>
                    <a:pt x="33" y="331"/>
                    <a:pt x="33" y="308"/>
                  </a:cubicBezTo>
                  <a:cubicBezTo>
                    <a:pt x="33" y="285"/>
                    <a:pt x="52" y="266"/>
                    <a:pt x="75" y="266"/>
                  </a:cubicBezTo>
                  <a:cubicBezTo>
                    <a:pt x="98" y="266"/>
                    <a:pt x="116" y="285"/>
                    <a:pt x="116" y="308"/>
                  </a:cubicBezTo>
                  <a:cubicBezTo>
                    <a:pt x="116" y="331"/>
                    <a:pt x="98" y="349"/>
                    <a:pt x="75" y="349"/>
                  </a:cubicBezTo>
                  <a:close/>
                  <a:moveTo>
                    <a:pt x="533" y="34"/>
                  </a:moveTo>
                  <a:cubicBezTo>
                    <a:pt x="533" y="15"/>
                    <a:pt x="518" y="0"/>
                    <a:pt x="500" y="0"/>
                  </a:cubicBezTo>
                  <a:lnTo>
                    <a:pt x="33" y="0"/>
                  </a:lnTo>
                  <a:cubicBezTo>
                    <a:pt x="15" y="0"/>
                    <a:pt x="0" y="15"/>
                    <a:pt x="0" y="34"/>
                  </a:cubicBezTo>
                  <a:lnTo>
                    <a:pt x="0" y="383"/>
                  </a:lnTo>
                  <a:lnTo>
                    <a:pt x="533" y="383"/>
                  </a:lnTo>
                  <a:lnTo>
                    <a:pt x="533" y="34"/>
                  </a:lnTo>
                  <a:close/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64" name="Oval 513">
              <a:extLst>
                <a:ext uri="{FF2B5EF4-FFF2-40B4-BE49-F238E27FC236}">
                  <a16:creationId xmlns:a16="http://schemas.microsoft.com/office/drawing/2014/main" id="{608085FF-3B25-0BCA-10DA-82389CB3EB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5" y="1416"/>
              <a:ext cx="663" cy="66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65" name="Freeform 514">
              <a:extLst>
                <a:ext uri="{FF2B5EF4-FFF2-40B4-BE49-F238E27FC236}">
                  <a16:creationId xmlns:a16="http://schemas.microsoft.com/office/drawing/2014/main" id="{C7461988-5CE0-7827-CE0D-109052F0A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3" y="2609"/>
              <a:ext cx="2383" cy="660"/>
            </a:xfrm>
            <a:custGeom>
              <a:avLst/>
              <a:gdLst>
                <a:gd name="T0" fmla="*/ 100 w 600"/>
                <a:gd name="T1" fmla="*/ 166 h 166"/>
                <a:gd name="T2" fmla="*/ 500 w 600"/>
                <a:gd name="T3" fmla="*/ 166 h 166"/>
                <a:gd name="T4" fmla="*/ 600 w 600"/>
                <a:gd name="T5" fmla="*/ 66 h 166"/>
                <a:gd name="T6" fmla="*/ 600 w 600"/>
                <a:gd name="T7" fmla="*/ 33 h 166"/>
                <a:gd name="T8" fmla="*/ 600 w 600"/>
                <a:gd name="T9" fmla="*/ 0 h 166"/>
                <a:gd name="T10" fmla="*/ 534 w 600"/>
                <a:gd name="T11" fmla="*/ 0 h 166"/>
                <a:gd name="T12" fmla="*/ 67 w 600"/>
                <a:gd name="T13" fmla="*/ 0 h 166"/>
                <a:gd name="T14" fmla="*/ 0 w 600"/>
                <a:gd name="T15" fmla="*/ 0 h 166"/>
                <a:gd name="T16" fmla="*/ 0 w 600"/>
                <a:gd name="T17" fmla="*/ 33 h 166"/>
                <a:gd name="T18" fmla="*/ 0 w 600"/>
                <a:gd name="T19" fmla="*/ 66 h 166"/>
                <a:gd name="T20" fmla="*/ 100 w 600"/>
                <a:gd name="T21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0" h="166">
                  <a:moveTo>
                    <a:pt x="100" y="166"/>
                  </a:moveTo>
                  <a:lnTo>
                    <a:pt x="500" y="166"/>
                  </a:lnTo>
                  <a:cubicBezTo>
                    <a:pt x="556" y="166"/>
                    <a:pt x="600" y="122"/>
                    <a:pt x="600" y="66"/>
                  </a:cubicBezTo>
                  <a:lnTo>
                    <a:pt x="600" y="33"/>
                  </a:lnTo>
                  <a:lnTo>
                    <a:pt x="600" y="0"/>
                  </a:lnTo>
                  <a:lnTo>
                    <a:pt x="534" y="0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33"/>
                  </a:lnTo>
                  <a:lnTo>
                    <a:pt x="0" y="66"/>
                  </a:lnTo>
                  <a:cubicBezTo>
                    <a:pt x="0" y="122"/>
                    <a:pt x="45" y="166"/>
                    <a:pt x="100" y="166"/>
                  </a:cubicBezTo>
                  <a:close/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67" name="TextBox 3166">
            <a:extLst>
              <a:ext uri="{FF2B5EF4-FFF2-40B4-BE49-F238E27FC236}">
                <a16:creationId xmlns:a16="http://schemas.microsoft.com/office/drawing/2014/main" id="{DDF97090-2536-5149-28B4-C1671D131363}"/>
              </a:ext>
            </a:extLst>
          </p:cNvPr>
          <p:cNvSpPr txBox="1"/>
          <p:nvPr/>
        </p:nvSpPr>
        <p:spPr>
          <a:xfrm>
            <a:off x="8683827" y="1781827"/>
            <a:ext cx="213215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6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OTOS &amp; VIDEO SHARED ON INSTAGRAM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AA69799-D20F-7B22-B34D-AFE5075DA96E}"/>
              </a:ext>
            </a:extLst>
          </p:cNvPr>
          <p:cNvSpPr txBox="1"/>
          <p:nvPr/>
        </p:nvSpPr>
        <p:spPr>
          <a:xfrm>
            <a:off x="742235" y="6310004"/>
            <a:ext cx="14526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 LocaliQ, 202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C1B5A4-CDCB-C117-539E-6300D8608CC2}"/>
              </a:ext>
            </a:extLst>
          </p:cNvPr>
          <p:cNvSpPr txBox="1"/>
          <p:nvPr/>
        </p:nvSpPr>
        <p:spPr>
          <a:xfrm>
            <a:off x="-8966" y="-51263"/>
            <a:ext cx="636879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3600" b="1" i="0" u="none" strike="noStrike" kern="1200" cap="all" spc="-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Advertising </a:t>
            </a:r>
          </a:p>
          <a:p>
            <a:r>
              <a:rPr kumimoji="0" lang="en-GB" sz="3600" b="1" i="0" u="none" strike="noStrike" kern="1200" cap="all" spc="-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LANDSCAPE</a:t>
            </a:r>
          </a:p>
          <a:p>
            <a:r>
              <a:rPr kumimoji="0" lang="en-GB" sz="3600" b="1" i="0" u="none" strike="noStrike" kern="1200" cap="all" spc="-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transform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2045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FC2AE-4C71-2458-4884-54DD66F1A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D77919-D05D-3144-D494-5D6CA0A0E5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4392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C0B5A-4330-5561-1FE5-E143BF913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re are good reasons to use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772A36-4AD4-245B-8CFF-646E1F4E80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Four of th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12DB53-95B8-8BE8-1F0F-DF46BAC64A5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E59758-7E97-0862-1EC8-980ED174E1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23" name="Graphic 22" descr="Balloon animal cat">
            <a:extLst>
              <a:ext uri="{FF2B5EF4-FFF2-40B4-BE49-F238E27FC236}">
                <a16:creationId xmlns:a16="http://schemas.microsoft.com/office/drawing/2014/main" id="{A58B3768-CE03-1054-B2E0-6C38E5F35F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1698" y="1890240"/>
            <a:ext cx="1533525" cy="1533525"/>
          </a:xfrm>
          <a:prstGeom prst="rect">
            <a:avLst/>
          </a:prstGeom>
        </p:spPr>
      </p:pic>
      <p:pic>
        <p:nvPicPr>
          <p:cNvPr id="24" name="Graphic 23" descr="A cake with candles">
            <a:extLst>
              <a:ext uri="{FF2B5EF4-FFF2-40B4-BE49-F238E27FC236}">
                <a16:creationId xmlns:a16="http://schemas.microsoft.com/office/drawing/2014/main" id="{DE6484C5-33F2-6059-F9EF-4925AEDF30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06163" y="1771043"/>
            <a:ext cx="1805925" cy="1805925"/>
          </a:xfrm>
          <a:prstGeom prst="rect">
            <a:avLst/>
          </a:prstGeom>
        </p:spPr>
      </p:pic>
      <p:pic>
        <p:nvPicPr>
          <p:cNvPr id="25" name="Graphic 24" descr="An assortment of differently patterned circles">
            <a:extLst>
              <a:ext uri="{FF2B5EF4-FFF2-40B4-BE49-F238E27FC236}">
                <a16:creationId xmlns:a16="http://schemas.microsoft.com/office/drawing/2014/main" id="{5364E7D9-6973-9BF0-A673-7A27AF69F9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88866" y="1942088"/>
            <a:ext cx="1641750" cy="1641750"/>
          </a:xfrm>
          <a:prstGeom prst="rect">
            <a:avLst/>
          </a:prstGeom>
        </p:spPr>
      </p:pic>
      <p:pic>
        <p:nvPicPr>
          <p:cNvPr id="26" name="Graphic 25" descr="Flip flops with polka dots">
            <a:extLst>
              <a:ext uri="{FF2B5EF4-FFF2-40B4-BE49-F238E27FC236}">
                <a16:creationId xmlns:a16="http://schemas.microsoft.com/office/drawing/2014/main" id="{CDBCB5BD-79C4-8C34-CD23-5C10AC9697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659377" y="1964527"/>
            <a:ext cx="1602459" cy="160245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44BC1E1-938C-3145-855F-DEC07CCB4DC0}"/>
              </a:ext>
            </a:extLst>
          </p:cNvPr>
          <p:cNvSpPr txBox="1"/>
          <p:nvPr/>
        </p:nvSpPr>
        <p:spPr>
          <a:xfrm>
            <a:off x="521148" y="3423765"/>
            <a:ext cx="26039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</a:rPr>
              <a:t>INTERACTIV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ctile, touch creates an experience - the feel of the paper, weight, shape, texture, finish and visual appeal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4399BBA-6896-8551-D1DE-2BEF53072591}"/>
              </a:ext>
            </a:extLst>
          </p:cNvPr>
          <p:cNvSpPr txBox="1"/>
          <p:nvPr/>
        </p:nvSpPr>
        <p:spPr>
          <a:xfrm>
            <a:off x="3398074" y="3423765"/>
            <a:ext cx="260398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</a:rPr>
              <a:t>MEMORABL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ore personal than any other channel it is highly memorable and gets disproportionate attention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5157B29-1AB5-C2A7-CA80-2B2DDE6598BD}"/>
              </a:ext>
            </a:extLst>
          </p:cNvPr>
          <p:cNvSpPr txBox="1"/>
          <p:nvPr/>
        </p:nvSpPr>
        <p:spPr>
          <a:xfrm>
            <a:off x="6275000" y="3423765"/>
            <a:ext cx="26039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</a:rPr>
              <a:t>BIG REACH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t everyone uses every digital channel but everyone gets mail.  Young people get less so when they do…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9A4C2AE-E42C-A091-3775-41558E175011}"/>
              </a:ext>
            </a:extLst>
          </p:cNvPr>
          <p:cNvSpPr txBox="1"/>
          <p:nvPr/>
        </p:nvSpPr>
        <p:spPr>
          <a:xfrm>
            <a:off x="9151925" y="3423765"/>
            <a:ext cx="26039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</a:rPr>
              <a:t>LESS COMPETI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igital is fighting to be seen, letterbox marketing much less crowded space – with just 3.5 letters a week.</a:t>
            </a:r>
          </a:p>
        </p:txBody>
      </p:sp>
    </p:spTree>
    <p:extLst>
      <p:ext uri="{BB962C8B-B14F-4D97-AF65-F5344CB8AC3E}">
        <p14:creationId xmlns:p14="http://schemas.microsoft.com/office/powerpoint/2010/main" val="19234400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77CA4-D029-BC45-8129-08969B618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people want from bran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297E5B-25AC-D3DB-4FFD-2264137D93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hich of the following types of communication do you like to receive from brands you don’t know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D49379-3D2B-B89F-F9F7-95F25BF4B5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5BDD3B78-D52C-A87D-97BC-1EA57584168B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143958638"/>
              </p:ext>
            </p:extLst>
          </p:nvPr>
        </p:nvGraphicFramePr>
        <p:xfrm>
          <a:off x="423863" y="1781175"/>
          <a:ext cx="7908479" cy="4476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CDD13F-9141-E1F8-4920-ED6B896C98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ource:  Lob, State of Direct Mail, 2024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B947CFE9-BF1F-051D-E8CE-133055983C58}"/>
              </a:ext>
            </a:extLst>
          </p:cNvPr>
          <p:cNvSpPr txBox="1">
            <a:spLocks/>
          </p:cNvSpPr>
          <p:nvPr/>
        </p:nvSpPr>
        <p:spPr>
          <a:xfrm>
            <a:off x="7647295" y="1822271"/>
            <a:ext cx="3870054" cy="447675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GB" sz="1700" b="1" dirty="0"/>
              <a:t>THE TANGIBLE TOUCH OF DIRECT MAIL</a:t>
            </a:r>
          </a:p>
          <a:p>
            <a:pPr marL="360363" indent="-360363">
              <a:buFont typeface="Calibri" panose="020F0502020204030204" pitchFamily="34" charset="0"/>
              <a:buChar char="→"/>
            </a:pPr>
            <a:r>
              <a:rPr lang="en-GB" sz="1700" b="1" dirty="0">
                <a:solidFill>
                  <a:schemeClr val="accent1"/>
                </a:solidFill>
              </a:rPr>
              <a:t>51%</a:t>
            </a:r>
            <a:r>
              <a:rPr lang="en-GB" sz="1700" dirty="0"/>
              <a:t> of respondents say direct mail is an important way for brands to build relationships with them</a:t>
            </a:r>
          </a:p>
          <a:p>
            <a:pPr marL="360363" indent="-360363">
              <a:buFont typeface="Calibri" panose="020F0502020204030204" pitchFamily="34" charset="0"/>
              <a:buChar char="→"/>
            </a:pPr>
            <a:r>
              <a:rPr lang="en-GB" sz="1700" b="1" dirty="0">
                <a:solidFill>
                  <a:schemeClr val="accent1"/>
                </a:solidFill>
              </a:rPr>
              <a:t>52%</a:t>
            </a:r>
            <a:r>
              <a:rPr lang="en-GB" sz="1700" dirty="0"/>
              <a:t> of respondents say that receiving direct mail from a brand feels more important than receiving an email from a brand</a:t>
            </a:r>
          </a:p>
          <a:p>
            <a:pPr marL="360363" indent="-360363">
              <a:buFont typeface="Calibri" panose="020F0502020204030204" pitchFamily="34" charset="0"/>
              <a:buChar char="→"/>
            </a:pPr>
            <a:r>
              <a:rPr lang="en-GB" sz="1700" b="1" dirty="0"/>
              <a:t>Nearly half of respondents </a:t>
            </a:r>
            <a:r>
              <a:rPr lang="en-GB" sz="1700" dirty="0"/>
              <a:t>say the tangibility of direct mail makes it feel more special than an email or digital ad</a:t>
            </a:r>
          </a:p>
          <a:p>
            <a:pPr marL="360363" indent="-360363">
              <a:buFont typeface="Calibri" panose="020F0502020204030204" pitchFamily="34" charset="0"/>
              <a:buChar char="→"/>
            </a:pPr>
            <a:r>
              <a:rPr lang="en-GB" sz="1700" b="1" dirty="0"/>
              <a:t>Direct mail can be a great first step </a:t>
            </a:r>
            <a:r>
              <a:rPr lang="en-GB" sz="1700" dirty="0"/>
              <a:t>to building trust with consumers, and this brand awareness subsequently will make digital outreach more effective</a:t>
            </a:r>
          </a:p>
        </p:txBody>
      </p:sp>
    </p:spTree>
    <p:extLst>
      <p:ext uri="{BB962C8B-B14F-4D97-AF65-F5344CB8AC3E}">
        <p14:creationId xmlns:p14="http://schemas.microsoft.com/office/powerpoint/2010/main" val="25189276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0DA187-D53D-D738-CE96-DA7A8DC86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stomer acquisition more challenging than ev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5EF61C-4777-8E3B-CC5D-4772E9DC2B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6ADCF0-4CEF-D423-94B8-A4DD39FCC51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96FF68-2B5E-FA8F-FD1B-78694BDD76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s:  Profitwell.com, Lob Guide to Acquisition, 2022, State of Mail Consumer Insights, 2024</a:t>
            </a:r>
          </a:p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6B09B-F3E9-B72E-B5E3-400E99AC8723}"/>
              </a:ext>
            </a:extLst>
          </p:cNvPr>
          <p:cNvSpPr txBox="1"/>
          <p:nvPr/>
        </p:nvSpPr>
        <p:spPr>
          <a:xfrm>
            <a:off x="2748893" y="2238258"/>
            <a:ext cx="148790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0" b="1" dirty="0">
                <a:solidFill>
                  <a:schemeClr val="accent1"/>
                </a:solidFill>
                <a:latin typeface="+mj-lt"/>
              </a:rPr>
              <a:t>60</a:t>
            </a:r>
            <a:r>
              <a:rPr lang="en-GB" sz="4000" b="1" dirty="0">
                <a:latin typeface="+mj-lt"/>
              </a:rPr>
              <a:t>%</a:t>
            </a:r>
            <a:endParaRPr lang="en-GB" sz="6000" b="1" dirty="0">
              <a:latin typeface="+mj-lt"/>
            </a:endParaRPr>
          </a:p>
        </p:txBody>
      </p:sp>
      <p:sp>
        <p:nvSpPr>
          <p:cNvPr id="8" name="Graphic 10" descr="Coins outline">
            <a:extLst>
              <a:ext uri="{FF2B5EF4-FFF2-40B4-BE49-F238E27FC236}">
                <a16:creationId xmlns:a16="http://schemas.microsoft.com/office/drawing/2014/main" id="{95DAB875-D383-928E-6557-A3CCEAA9E6B1}"/>
              </a:ext>
            </a:extLst>
          </p:cNvPr>
          <p:cNvSpPr/>
          <p:nvPr/>
        </p:nvSpPr>
        <p:spPr>
          <a:xfrm>
            <a:off x="1590458" y="3001821"/>
            <a:ext cx="1503484" cy="1280745"/>
          </a:xfrm>
          <a:custGeom>
            <a:avLst/>
            <a:gdLst>
              <a:gd name="connsiteX0" fmla="*/ 1410676 w 1503484"/>
              <a:gd name="connsiteY0" fmla="*/ 837125 h 1280745"/>
              <a:gd name="connsiteX1" fmla="*/ 1410676 w 1503484"/>
              <a:gd name="connsiteY1" fmla="*/ 705338 h 1280745"/>
              <a:gd name="connsiteX2" fmla="*/ 1095130 w 1503484"/>
              <a:gd name="connsiteY2" fmla="*/ 532716 h 1280745"/>
              <a:gd name="connsiteX3" fmla="*/ 1095130 w 1503484"/>
              <a:gd name="connsiteY3" fmla="*/ 426915 h 1280745"/>
              <a:gd name="connsiteX4" fmla="*/ 1002323 w 1503484"/>
              <a:gd name="connsiteY4" fmla="*/ 317402 h 1280745"/>
              <a:gd name="connsiteX5" fmla="*/ 1002323 w 1503484"/>
              <a:gd name="connsiteY5" fmla="*/ 185615 h 1280745"/>
              <a:gd name="connsiteX6" fmla="*/ 501161 w 1503484"/>
              <a:gd name="connsiteY6" fmla="*/ 0 h 1280745"/>
              <a:gd name="connsiteX7" fmla="*/ 0 w 1503484"/>
              <a:gd name="connsiteY7" fmla="*/ 185615 h 1280745"/>
              <a:gd name="connsiteX8" fmla="*/ 0 w 1503484"/>
              <a:gd name="connsiteY8" fmla="*/ 334108 h 1280745"/>
              <a:gd name="connsiteX9" fmla="*/ 92808 w 1503484"/>
              <a:gd name="connsiteY9" fmla="*/ 445477 h 1280745"/>
              <a:gd name="connsiteX10" fmla="*/ 92808 w 1503484"/>
              <a:gd name="connsiteY10" fmla="*/ 575407 h 1280745"/>
              <a:gd name="connsiteX11" fmla="*/ 92808 w 1503484"/>
              <a:gd name="connsiteY11" fmla="*/ 577264 h 1280745"/>
              <a:gd name="connsiteX12" fmla="*/ 0 w 1503484"/>
              <a:gd name="connsiteY12" fmla="*/ 686777 h 1280745"/>
              <a:gd name="connsiteX13" fmla="*/ 0 w 1503484"/>
              <a:gd name="connsiteY13" fmla="*/ 835269 h 1280745"/>
              <a:gd name="connsiteX14" fmla="*/ 501161 w 1503484"/>
              <a:gd name="connsiteY14" fmla="*/ 1020884 h 1280745"/>
              <a:gd name="connsiteX15" fmla="*/ 501161 w 1503484"/>
              <a:gd name="connsiteY15" fmla="*/ 1095130 h 1280745"/>
              <a:gd name="connsiteX16" fmla="*/ 1002323 w 1503484"/>
              <a:gd name="connsiteY16" fmla="*/ 1280746 h 1280745"/>
              <a:gd name="connsiteX17" fmla="*/ 1503484 w 1503484"/>
              <a:gd name="connsiteY17" fmla="*/ 1095130 h 1280745"/>
              <a:gd name="connsiteX18" fmla="*/ 1503484 w 1503484"/>
              <a:gd name="connsiteY18" fmla="*/ 946638 h 1280745"/>
              <a:gd name="connsiteX19" fmla="*/ 1410676 w 1503484"/>
              <a:gd name="connsiteY19" fmla="*/ 837125 h 1280745"/>
              <a:gd name="connsiteX20" fmla="*/ 1466361 w 1503484"/>
              <a:gd name="connsiteY20" fmla="*/ 948494 h 1280745"/>
              <a:gd name="connsiteX21" fmla="*/ 1002323 w 1503484"/>
              <a:gd name="connsiteY21" fmla="*/ 1096986 h 1280745"/>
              <a:gd name="connsiteX22" fmla="*/ 560558 w 1503484"/>
              <a:gd name="connsiteY22" fmla="*/ 991186 h 1280745"/>
              <a:gd name="connsiteX23" fmla="*/ 560558 w 1503484"/>
              <a:gd name="connsiteY23" fmla="*/ 991186 h 1280745"/>
              <a:gd name="connsiteX24" fmla="*/ 907659 w 1503484"/>
              <a:gd name="connsiteY24" fmla="*/ 1041302 h 1280745"/>
              <a:gd name="connsiteX25" fmla="*/ 1405108 w 1503484"/>
              <a:gd name="connsiteY25" fmla="*/ 879817 h 1280745"/>
              <a:gd name="connsiteX26" fmla="*/ 1466361 w 1503484"/>
              <a:gd name="connsiteY26" fmla="*/ 948494 h 1280745"/>
              <a:gd name="connsiteX27" fmla="*/ 1150815 w 1503484"/>
              <a:gd name="connsiteY27" fmla="*/ 1124829 h 1280745"/>
              <a:gd name="connsiteX28" fmla="*/ 1150815 w 1503484"/>
              <a:gd name="connsiteY28" fmla="*/ 1236198 h 1280745"/>
              <a:gd name="connsiteX29" fmla="*/ 1076569 w 1503484"/>
              <a:gd name="connsiteY29" fmla="*/ 1241766 h 1280745"/>
              <a:gd name="connsiteX30" fmla="*/ 1076569 w 1503484"/>
              <a:gd name="connsiteY30" fmla="*/ 1130397 h 1280745"/>
              <a:gd name="connsiteX31" fmla="*/ 1150815 w 1503484"/>
              <a:gd name="connsiteY31" fmla="*/ 1124829 h 1280745"/>
              <a:gd name="connsiteX32" fmla="*/ 1187938 w 1503484"/>
              <a:gd name="connsiteY32" fmla="*/ 1121117 h 1280745"/>
              <a:gd name="connsiteX33" fmla="*/ 1262184 w 1503484"/>
              <a:gd name="connsiteY33" fmla="*/ 1108124 h 1280745"/>
              <a:gd name="connsiteX34" fmla="*/ 1262184 w 1503484"/>
              <a:gd name="connsiteY34" fmla="*/ 1217636 h 1280745"/>
              <a:gd name="connsiteX35" fmla="*/ 1187938 w 1503484"/>
              <a:gd name="connsiteY35" fmla="*/ 1230630 h 1280745"/>
              <a:gd name="connsiteX36" fmla="*/ 1187938 w 1503484"/>
              <a:gd name="connsiteY36" fmla="*/ 1121117 h 1280745"/>
              <a:gd name="connsiteX37" fmla="*/ 1299307 w 1503484"/>
              <a:gd name="connsiteY37" fmla="*/ 1098843 h 1280745"/>
              <a:gd name="connsiteX38" fmla="*/ 1373553 w 1503484"/>
              <a:gd name="connsiteY38" fmla="*/ 1074713 h 1280745"/>
              <a:gd name="connsiteX39" fmla="*/ 1373553 w 1503484"/>
              <a:gd name="connsiteY39" fmla="*/ 1182370 h 1280745"/>
              <a:gd name="connsiteX40" fmla="*/ 1299307 w 1503484"/>
              <a:gd name="connsiteY40" fmla="*/ 1208356 h 1280745"/>
              <a:gd name="connsiteX41" fmla="*/ 1299307 w 1503484"/>
              <a:gd name="connsiteY41" fmla="*/ 1098843 h 1280745"/>
              <a:gd name="connsiteX42" fmla="*/ 705338 w 1503484"/>
              <a:gd name="connsiteY42" fmla="*/ 1208356 h 1280745"/>
              <a:gd name="connsiteX43" fmla="*/ 631092 w 1503484"/>
              <a:gd name="connsiteY43" fmla="*/ 1182370 h 1280745"/>
              <a:gd name="connsiteX44" fmla="*/ 631092 w 1503484"/>
              <a:gd name="connsiteY44" fmla="*/ 1074713 h 1280745"/>
              <a:gd name="connsiteX45" fmla="*/ 705338 w 1503484"/>
              <a:gd name="connsiteY45" fmla="*/ 1098843 h 1280745"/>
              <a:gd name="connsiteX46" fmla="*/ 705338 w 1503484"/>
              <a:gd name="connsiteY46" fmla="*/ 1208356 h 1280745"/>
              <a:gd name="connsiteX47" fmla="*/ 742461 w 1503484"/>
              <a:gd name="connsiteY47" fmla="*/ 1108124 h 1280745"/>
              <a:gd name="connsiteX48" fmla="*/ 816707 w 1503484"/>
              <a:gd name="connsiteY48" fmla="*/ 1121117 h 1280745"/>
              <a:gd name="connsiteX49" fmla="*/ 816707 w 1503484"/>
              <a:gd name="connsiteY49" fmla="*/ 1232486 h 1280745"/>
              <a:gd name="connsiteX50" fmla="*/ 742461 w 1503484"/>
              <a:gd name="connsiteY50" fmla="*/ 1219493 h 1280745"/>
              <a:gd name="connsiteX51" fmla="*/ 742461 w 1503484"/>
              <a:gd name="connsiteY51" fmla="*/ 1108124 h 1280745"/>
              <a:gd name="connsiteX52" fmla="*/ 853831 w 1503484"/>
              <a:gd name="connsiteY52" fmla="*/ 1124829 h 1280745"/>
              <a:gd name="connsiteX53" fmla="*/ 928077 w 1503484"/>
              <a:gd name="connsiteY53" fmla="*/ 1130397 h 1280745"/>
              <a:gd name="connsiteX54" fmla="*/ 928077 w 1503484"/>
              <a:gd name="connsiteY54" fmla="*/ 1241766 h 1280745"/>
              <a:gd name="connsiteX55" fmla="*/ 853831 w 1503484"/>
              <a:gd name="connsiteY55" fmla="*/ 1236198 h 1280745"/>
              <a:gd name="connsiteX56" fmla="*/ 853831 w 1503484"/>
              <a:gd name="connsiteY56" fmla="*/ 1124829 h 1280745"/>
              <a:gd name="connsiteX57" fmla="*/ 408354 w 1503484"/>
              <a:gd name="connsiteY57" fmla="*/ 707194 h 1280745"/>
              <a:gd name="connsiteX58" fmla="*/ 408354 w 1503484"/>
              <a:gd name="connsiteY58" fmla="*/ 712763 h 1280745"/>
              <a:gd name="connsiteX59" fmla="*/ 334108 w 1503484"/>
              <a:gd name="connsiteY59" fmla="*/ 699770 h 1280745"/>
              <a:gd name="connsiteX60" fmla="*/ 334108 w 1503484"/>
              <a:gd name="connsiteY60" fmla="*/ 590257 h 1280745"/>
              <a:gd name="connsiteX61" fmla="*/ 408354 w 1503484"/>
              <a:gd name="connsiteY61" fmla="*/ 603250 h 1280745"/>
              <a:gd name="connsiteX62" fmla="*/ 408354 w 1503484"/>
              <a:gd name="connsiteY62" fmla="*/ 707194 h 1280745"/>
              <a:gd name="connsiteX63" fmla="*/ 445477 w 1503484"/>
              <a:gd name="connsiteY63" fmla="*/ 855687 h 1280745"/>
              <a:gd name="connsiteX64" fmla="*/ 445477 w 1503484"/>
              <a:gd name="connsiteY64" fmla="*/ 781441 h 1280745"/>
              <a:gd name="connsiteX65" fmla="*/ 501161 w 1503484"/>
              <a:gd name="connsiteY65" fmla="*/ 818564 h 1280745"/>
              <a:gd name="connsiteX66" fmla="*/ 501161 w 1503484"/>
              <a:gd name="connsiteY66" fmla="*/ 924364 h 1280745"/>
              <a:gd name="connsiteX67" fmla="*/ 445477 w 1503484"/>
              <a:gd name="connsiteY67" fmla="*/ 855687 h 1280745"/>
              <a:gd name="connsiteX68" fmla="*/ 445477 w 1503484"/>
              <a:gd name="connsiteY68" fmla="*/ 855687 h 1280745"/>
              <a:gd name="connsiteX69" fmla="*/ 1373553 w 1503484"/>
              <a:gd name="connsiteY69" fmla="*/ 855687 h 1280745"/>
              <a:gd name="connsiteX70" fmla="*/ 1317869 w 1503484"/>
              <a:gd name="connsiteY70" fmla="*/ 922508 h 1280745"/>
              <a:gd name="connsiteX71" fmla="*/ 1317869 w 1503484"/>
              <a:gd name="connsiteY71" fmla="*/ 816707 h 1280745"/>
              <a:gd name="connsiteX72" fmla="*/ 1373553 w 1503484"/>
              <a:gd name="connsiteY72" fmla="*/ 779584 h 1280745"/>
              <a:gd name="connsiteX73" fmla="*/ 1373553 w 1503484"/>
              <a:gd name="connsiteY73" fmla="*/ 855687 h 1280745"/>
              <a:gd name="connsiteX74" fmla="*/ 1280746 w 1503484"/>
              <a:gd name="connsiteY74" fmla="*/ 941070 h 1280745"/>
              <a:gd name="connsiteX75" fmla="*/ 1206500 w 1503484"/>
              <a:gd name="connsiteY75" fmla="*/ 967056 h 1280745"/>
              <a:gd name="connsiteX76" fmla="*/ 1206500 w 1503484"/>
              <a:gd name="connsiteY76" fmla="*/ 857543 h 1280745"/>
              <a:gd name="connsiteX77" fmla="*/ 1280746 w 1503484"/>
              <a:gd name="connsiteY77" fmla="*/ 833413 h 1280745"/>
              <a:gd name="connsiteX78" fmla="*/ 1280746 w 1503484"/>
              <a:gd name="connsiteY78" fmla="*/ 941070 h 1280745"/>
              <a:gd name="connsiteX79" fmla="*/ 1169377 w 1503484"/>
              <a:gd name="connsiteY79" fmla="*/ 976337 h 1280745"/>
              <a:gd name="connsiteX80" fmla="*/ 1095130 w 1503484"/>
              <a:gd name="connsiteY80" fmla="*/ 989330 h 1280745"/>
              <a:gd name="connsiteX81" fmla="*/ 1095130 w 1503484"/>
              <a:gd name="connsiteY81" fmla="*/ 877960 h 1280745"/>
              <a:gd name="connsiteX82" fmla="*/ 1169377 w 1503484"/>
              <a:gd name="connsiteY82" fmla="*/ 864967 h 1280745"/>
              <a:gd name="connsiteX83" fmla="*/ 1169377 w 1503484"/>
              <a:gd name="connsiteY83" fmla="*/ 976337 h 1280745"/>
              <a:gd name="connsiteX84" fmla="*/ 1058007 w 1503484"/>
              <a:gd name="connsiteY84" fmla="*/ 994898 h 1280745"/>
              <a:gd name="connsiteX85" fmla="*/ 983761 w 1503484"/>
              <a:gd name="connsiteY85" fmla="*/ 1000467 h 1280745"/>
              <a:gd name="connsiteX86" fmla="*/ 983761 w 1503484"/>
              <a:gd name="connsiteY86" fmla="*/ 889097 h 1280745"/>
              <a:gd name="connsiteX87" fmla="*/ 1058007 w 1503484"/>
              <a:gd name="connsiteY87" fmla="*/ 883529 h 1280745"/>
              <a:gd name="connsiteX88" fmla="*/ 1058007 w 1503484"/>
              <a:gd name="connsiteY88" fmla="*/ 994898 h 1280745"/>
              <a:gd name="connsiteX89" fmla="*/ 946638 w 1503484"/>
              <a:gd name="connsiteY89" fmla="*/ 1002323 h 1280745"/>
              <a:gd name="connsiteX90" fmla="*/ 909515 w 1503484"/>
              <a:gd name="connsiteY90" fmla="*/ 1002323 h 1280745"/>
              <a:gd name="connsiteX91" fmla="*/ 872392 w 1503484"/>
              <a:gd name="connsiteY91" fmla="*/ 1002323 h 1280745"/>
              <a:gd name="connsiteX92" fmla="*/ 872392 w 1503484"/>
              <a:gd name="connsiteY92" fmla="*/ 890953 h 1280745"/>
              <a:gd name="connsiteX93" fmla="*/ 909515 w 1503484"/>
              <a:gd name="connsiteY93" fmla="*/ 890953 h 1280745"/>
              <a:gd name="connsiteX94" fmla="*/ 946638 w 1503484"/>
              <a:gd name="connsiteY94" fmla="*/ 890953 h 1280745"/>
              <a:gd name="connsiteX95" fmla="*/ 946638 w 1503484"/>
              <a:gd name="connsiteY95" fmla="*/ 1002323 h 1280745"/>
              <a:gd name="connsiteX96" fmla="*/ 835269 w 1503484"/>
              <a:gd name="connsiteY96" fmla="*/ 1002323 h 1280745"/>
              <a:gd name="connsiteX97" fmla="*/ 761023 w 1503484"/>
              <a:gd name="connsiteY97" fmla="*/ 996754 h 1280745"/>
              <a:gd name="connsiteX98" fmla="*/ 761023 w 1503484"/>
              <a:gd name="connsiteY98" fmla="*/ 885385 h 1280745"/>
              <a:gd name="connsiteX99" fmla="*/ 835269 w 1503484"/>
              <a:gd name="connsiteY99" fmla="*/ 890953 h 1280745"/>
              <a:gd name="connsiteX100" fmla="*/ 835269 w 1503484"/>
              <a:gd name="connsiteY100" fmla="*/ 1002323 h 1280745"/>
              <a:gd name="connsiteX101" fmla="*/ 723900 w 1503484"/>
              <a:gd name="connsiteY101" fmla="*/ 991186 h 1280745"/>
              <a:gd name="connsiteX102" fmla="*/ 649654 w 1503484"/>
              <a:gd name="connsiteY102" fmla="*/ 978193 h 1280745"/>
              <a:gd name="connsiteX103" fmla="*/ 649654 w 1503484"/>
              <a:gd name="connsiteY103" fmla="*/ 868680 h 1280745"/>
              <a:gd name="connsiteX104" fmla="*/ 723900 w 1503484"/>
              <a:gd name="connsiteY104" fmla="*/ 881673 h 1280745"/>
              <a:gd name="connsiteX105" fmla="*/ 723900 w 1503484"/>
              <a:gd name="connsiteY105" fmla="*/ 991186 h 1280745"/>
              <a:gd name="connsiteX106" fmla="*/ 612531 w 1503484"/>
              <a:gd name="connsiteY106" fmla="*/ 967056 h 1280745"/>
              <a:gd name="connsiteX107" fmla="*/ 538284 w 1503484"/>
              <a:gd name="connsiteY107" fmla="*/ 941070 h 1280745"/>
              <a:gd name="connsiteX108" fmla="*/ 538284 w 1503484"/>
              <a:gd name="connsiteY108" fmla="*/ 833413 h 1280745"/>
              <a:gd name="connsiteX109" fmla="*/ 612531 w 1503484"/>
              <a:gd name="connsiteY109" fmla="*/ 857543 h 1280745"/>
              <a:gd name="connsiteX110" fmla="*/ 612531 w 1503484"/>
              <a:gd name="connsiteY110" fmla="*/ 967056 h 1280745"/>
              <a:gd name="connsiteX111" fmla="*/ 1373553 w 1503484"/>
              <a:gd name="connsiteY111" fmla="*/ 707194 h 1280745"/>
              <a:gd name="connsiteX112" fmla="*/ 909515 w 1503484"/>
              <a:gd name="connsiteY112" fmla="*/ 855687 h 1280745"/>
              <a:gd name="connsiteX113" fmla="*/ 445477 w 1503484"/>
              <a:gd name="connsiteY113" fmla="*/ 707194 h 1280745"/>
              <a:gd name="connsiteX114" fmla="*/ 909515 w 1503484"/>
              <a:gd name="connsiteY114" fmla="*/ 558702 h 1280745"/>
              <a:gd name="connsiteX115" fmla="*/ 1373553 w 1503484"/>
              <a:gd name="connsiteY115" fmla="*/ 707194 h 1280745"/>
              <a:gd name="connsiteX116" fmla="*/ 445477 w 1503484"/>
              <a:gd name="connsiteY116" fmla="*/ 632948 h 1280745"/>
              <a:gd name="connsiteX117" fmla="*/ 445477 w 1503484"/>
              <a:gd name="connsiteY117" fmla="*/ 605106 h 1280745"/>
              <a:gd name="connsiteX118" fmla="*/ 478888 w 1503484"/>
              <a:gd name="connsiteY118" fmla="*/ 608818 h 1280745"/>
              <a:gd name="connsiteX119" fmla="*/ 445477 w 1503484"/>
              <a:gd name="connsiteY119" fmla="*/ 632948 h 1280745"/>
              <a:gd name="connsiteX120" fmla="*/ 1026453 w 1503484"/>
              <a:gd name="connsiteY120" fmla="*/ 525291 h 1280745"/>
              <a:gd name="connsiteX121" fmla="*/ 1059864 w 1503484"/>
              <a:gd name="connsiteY121" fmla="*/ 501161 h 1280745"/>
              <a:gd name="connsiteX122" fmla="*/ 1059864 w 1503484"/>
              <a:gd name="connsiteY122" fmla="*/ 529004 h 1280745"/>
              <a:gd name="connsiteX123" fmla="*/ 1026453 w 1503484"/>
              <a:gd name="connsiteY123" fmla="*/ 525291 h 1280745"/>
              <a:gd name="connsiteX124" fmla="*/ 998610 w 1503484"/>
              <a:gd name="connsiteY124" fmla="*/ 358238 h 1280745"/>
              <a:gd name="connsiteX125" fmla="*/ 1058007 w 1503484"/>
              <a:gd name="connsiteY125" fmla="*/ 426915 h 1280745"/>
              <a:gd name="connsiteX126" fmla="*/ 948494 w 1503484"/>
              <a:gd name="connsiteY126" fmla="*/ 519723 h 1280745"/>
              <a:gd name="connsiteX127" fmla="*/ 909515 w 1503484"/>
              <a:gd name="connsiteY127" fmla="*/ 519723 h 1280745"/>
              <a:gd name="connsiteX128" fmla="*/ 547565 w 1503484"/>
              <a:gd name="connsiteY128" fmla="*/ 575407 h 1280745"/>
              <a:gd name="connsiteX129" fmla="*/ 154061 w 1503484"/>
              <a:gd name="connsiteY129" fmla="*/ 471463 h 1280745"/>
              <a:gd name="connsiteX130" fmla="*/ 154061 w 1503484"/>
              <a:gd name="connsiteY130" fmla="*/ 471463 h 1280745"/>
              <a:gd name="connsiteX131" fmla="*/ 501161 w 1503484"/>
              <a:gd name="connsiteY131" fmla="*/ 521579 h 1280745"/>
              <a:gd name="connsiteX132" fmla="*/ 998610 w 1503484"/>
              <a:gd name="connsiteY132" fmla="*/ 358238 h 1280745"/>
              <a:gd name="connsiteX133" fmla="*/ 296985 w 1503484"/>
              <a:gd name="connsiteY133" fmla="*/ 579120 h 1280745"/>
              <a:gd name="connsiteX134" fmla="*/ 296985 w 1503484"/>
              <a:gd name="connsiteY134" fmla="*/ 688633 h 1280745"/>
              <a:gd name="connsiteX135" fmla="*/ 222738 w 1503484"/>
              <a:gd name="connsiteY135" fmla="*/ 662647 h 1280745"/>
              <a:gd name="connsiteX136" fmla="*/ 222738 w 1503484"/>
              <a:gd name="connsiteY136" fmla="*/ 554990 h 1280745"/>
              <a:gd name="connsiteX137" fmla="*/ 296985 w 1503484"/>
              <a:gd name="connsiteY137" fmla="*/ 579120 h 1280745"/>
              <a:gd name="connsiteX138" fmla="*/ 185615 w 1503484"/>
              <a:gd name="connsiteY138" fmla="*/ 538284 h 1280745"/>
              <a:gd name="connsiteX139" fmla="*/ 185615 w 1503484"/>
              <a:gd name="connsiteY139" fmla="*/ 644085 h 1280745"/>
              <a:gd name="connsiteX140" fmla="*/ 129931 w 1503484"/>
              <a:gd name="connsiteY140" fmla="*/ 577264 h 1280745"/>
              <a:gd name="connsiteX141" fmla="*/ 129931 w 1503484"/>
              <a:gd name="connsiteY141" fmla="*/ 503018 h 1280745"/>
              <a:gd name="connsiteX142" fmla="*/ 185615 w 1503484"/>
              <a:gd name="connsiteY142" fmla="*/ 538284 h 1280745"/>
              <a:gd name="connsiteX143" fmla="*/ 129931 w 1503484"/>
              <a:gd name="connsiteY143" fmla="*/ 421347 h 1280745"/>
              <a:gd name="connsiteX144" fmla="*/ 129931 w 1503484"/>
              <a:gd name="connsiteY144" fmla="*/ 313690 h 1280745"/>
              <a:gd name="connsiteX145" fmla="*/ 204177 w 1503484"/>
              <a:gd name="connsiteY145" fmla="*/ 337820 h 1280745"/>
              <a:gd name="connsiteX146" fmla="*/ 204177 w 1503484"/>
              <a:gd name="connsiteY146" fmla="*/ 447333 h 1280745"/>
              <a:gd name="connsiteX147" fmla="*/ 129931 w 1503484"/>
              <a:gd name="connsiteY147" fmla="*/ 421347 h 1280745"/>
              <a:gd name="connsiteX148" fmla="*/ 241300 w 1503484"/>
              <a:gd name="connsiteY148" fmla="*/ 456614 h 1280745"/>
              <a:gd name="connsiteX149" fmla="*/ 241300 w 1503484"/>
              <a:gd name="connsiteY149" fmla="*/ 347101 h 1280745"/>
              <a:gd name="connsiteX150" fmla="*/ 315546 w 1503484"/>
              <a:gd name="connsiteY150" fmla="*/ 360094 h 1280745"/>
              <a:gd name="connsiteX151" fmla="*/ 315546 w 1503484"/>
              <a:gd name="connsiteY151" fmla="*/ 471463 h 1280745"/>
              <a:gd name="connsiteX152" fmla="*/ 241300 w 1503484"/>
              <a:gd name="connsiteY152" fmla="*/ 456614 h 1280745"/>
              <a:gd name="connsiteX153" fmla="*/ 352669 w 1503484"/>
              <a:gd name="connsiteY153" fmla="*/ 475175 h 1280745"/>
              <a:gd name="connsiteX154" fmla="*/ 352669 w 1503484"/>
              <a:gd name="connsiteY154" fmla="*/ 363806 h 1280745"/>
              <a:gd name="connsiteX155" fmla="*/ 426915 w 1503484"/>
              <a:gd name="connsiteY155" fmla="*/ 369374 h 1280745"/>
              <a:gd name="connsiteX156" fmla="*/ 426915 w 1503484"/>
              <a:gd name="connsiteY156" fmla="*/ 480744 h 1280745"/>
              <a:gd name="connsiteX157" fmla="*/ 352669 w 1503484"/>
              <a:gd name="connsiteY157" fmla="*/ 475175 h 1280745"/>
              <a:gd name="connsiteX158" fmla="*/ 464038 w 1503484"/>
              <a:gd name="connsiteY158" fmla="*/ 482600 h 1280745"/>
              <a:gd name="connsiteX159" fmla="*/ 464038 w 1503484"/>
              <a:gd name="connsiteY159" fmla="*/ 371231 h 1280745"/>
              <a:gd name="connsiteX160" fmla="*/ 501161 w 1503484"/>
              <a:gd name="connsiteY160" fmla="*/ 371231 h 1280745"/>
              <a:gd name="connsiteX161" fmla="*/ 538284 w 1503484"/>
              <a:gd name="connsiteY161" fmla="*/ 371231 h 1280745"/>
              <a:gd name="connsiteX162" fmla="*/ 538284 w 1503484"/>
              <a:gd name="connsiteY162" fmla="*/ 482600 h 1280745"/>
              <a:gd name="connsiteX163" fmla="*/ 501161 w 1503484"/>
              <a:gd name="connsiteY163" fmla="*/ 482600 h 1280745"/>
              <a:gd name="connsiteX164" fmla="*/ 464038 w 1503484"/>
              <a:gd name="connsiteY164" fmla="*/ 482600 h 1280745"/>
              <a:gd name="connsiteX165" fmla="*/ 575408 w 1503484"/>
              <a:gd name="connsiteY165" fmla="*/ 482600 h 1280745"/>
              <a:gd name="connsiteX166" fmla="*/ 575408 w 1503484"/>
              <a:gd name="connsiteY166" fmla="*/ 371231 h 1280745"/>
              <a:gd name="connsiteX167" fmla="*/ 649654 w 1503484"/>
              <a:gd name="connsiteY167" fmla="*/ 365662 h 1280745"/>
              <a:gd name="connsiteX168" fmla="*/ 649654 w 1503484"/>
              <a:gd name="connsiteY168" fmla="*/ 477031 h 1280745"/>
              <a:gd name="connsiteX169" fmla="*/ 575408 w 1503484"/>
              <a:gd name="connsiteY169" fmla="*/ 482600 h 1280745"/>
              <a:gd name="connsiteX170" fmla="*/ 686777 w 1503484"/>
              <a:gd name="connsiteY170" fmla="*/ 471463 h 1280745"/>
              <a:gd name="connsiteX171" fmla="*/ 686777 w 1503484"/>
              <a:gd name="connsiteY171" fmla="*/ 360094 h 1280745"/>
              <a:gd name="connsiteX172" fmla="*/ 761023 w 1503484"/>
              <a:gd name="connsiteY172" fmla="*/ 347101 h 1280745"/>
              <a:gd name="connsiteX173" fmla="*/ 761023 w 1503484"/>
              <a:gd name="connsiteY173" fmla="*/ 456614 h 1280745"/>
              <a:gd name="connsiteX174" fmla="*/ 686777 w 1503484"/>
              <a:gd name="connsiteY174" fmla="*/ 471463 h 1280745"/>
              <a:gd name="connsiteX175" fmla="*/ 798146 w 1503484"/>
              <a:gd name="connsiteY175" fmla="*/ 447333 h 1280745"/>
              <a:gd name="connsiteX176" fmla="*/ 798146 w 1503484"/>
              <a:gd name="connsiteY176" fmla="*/ 337820 h 1280745"/>
              <a:gd name="connsiteX177" fmla="*/ 872392 w 1503484"/>
              <a:gd name="connsiteY177" fmla="*/ 313690 h 1280745"/>
              <a:gd name="connsiteX178" fmla="*/ 872392 w 1503484"/>
              <a:gd name="connsiteY178" fmla="*/ 421347 h 1280745"/>
              <a:gd name="connsiteX179" fmla="*/ 798146 w 1503484"/>
              <a:gd name="connsiteY179" fmla="*/ 447333 h 1280745"/>
              <a:gd name="connsiteX180" fmla="*/ 909515 w 1503484"/>
              <a:gd name="connsiteY180" fmla="*/ 402785 h 1280745"/>
              <a:gd name="connsiteX181" fmla="*/ 909515 w 1503484"/>
              <a:gd name="connsiteY181" fmla="*/ 296985 h 1280745"/>
              <a:gd name="connsiteX182" fmla="*/ 965200 w 1503484"/>
              <a:gd name="connsiteY182" fmla="*/ 259861 h 1280745"/>
              <a:gd name="connsiteX183" fmla="*/ 965200 w 1503484"/>
              <a:gd name="connsiteY183" fmla="*/ 334108 h 1280745"/>
              <a:gd name="connsiteX184" fmla="*/ 909515 w 1503484"/>
              <a:gd name="connsiteY184" fmla="*/ 402785 h 1280745"/>
              <a:gd name="connsiteX185" fmla="*/ 92808 w 1503484"/>
              <a:gd name="connsiteY185" fmla="*/ 402785 h 1280745"/>
              <a:gd name="connsiteX186" fmla="*/ 37123 w 1503484"/>
              <a:gd name="connsiteY186" fmla="*/ 335964 h 1280745"/>
              <a:gd name="connsiteX187" fmla="*/ 37123 w 1503484"/>
              <a:gd name="connsiteY187" fmla="*/ 261718 h 1280745"/>
              <a:gd name="connsiteX188" fmla="*/ 92808 w 1503484"/>
              <a:gd name="connsiteY188" fmla="*/ 298841 h 1280745"/>
              <a:gd name="connsiteX189" fmla="*/ 92808 w 1503484"/>
              <a:gd name="connsiteY189" fmla="*/ 402785 h 1280745"/>
              <a:gd name="connsiteX190" fmla="*/ 37123 w 1503484"/>
              <a:gd name="connsiteY190" fmla="*/ 187471 h 1280745"/>
              <a:gd name="connsiteX191" fmla="*/ 501161 w 1503484"/>
              <a:gd name="connsiteY191" fmla="*/ 38979 h 1280745"/>
              <a:gd name="connsiteX192" fmla="*/ 965200 w 1503484"/>
              <a:gd name="connsiteY192" fmla="*/ 187471 h 1280745"/>
              <a:gd name="connsiteX193" fmla="*/ 501161 w 1503484"/>
              <a:gd name="connsiteY193" fmla="*/ 335964 h 1280745"/>
              <a:gd name="connsiteX194" fmla="*/ 37123 w 1503484"/>
              <a:gd name="connsiteY194" fmla="*/ 187471 h 1280745"/>
              <a:gd name="connsiteX195" fmla="*/ 102088 w 1503484"/>
              <a:gd name="connsiteY195" fmla="*/ 614387 h 1280745"/>
              <a:gd name="connsiteX196" fmla="*/ 408354 w 1503484"/>
              <a:gd name="connsiteY196" fmla="*/ 748030 h 1280745"/>
              <a:gd name="connsiteX197" fmla="*/ 408354 w 1503484"/>
              <a:gd name="connsiteY197" fmla="*/ 831557 h 1280745"/>
              <a:gd name="connsiteX198" fmla="*/ 37123 w 1503484"/>
              <a:gd name="connsiteY198" fmla="*/ 686777 h 1280745"/>
              <a:gd name="connsiteX199" fmla="*/ 102088 w 1503484"/>
              <a:gd name="connsiteY199" fmla="*/ 614387 h 1280745"/>
              <a:gd name="connsiteX200" fmla="*/ 92808 w 1503484"/>
              <a:gd name="connsiteY200" fmla="*/ 903947 h 1280745"/>
              <a:gd name="connsiteX201" fmla="*/ 37123 w 1503484"/>
              <a:gd name="connsiteY201" fmla="*/ 837125 h 1280745"/>
              <a:gd name="connsiteX202" fmla="*/ 37123 w 1503484"/>
              <a:gd name="connsiteY202" fmla="*/ 762879 h 1280745"/>
              <a:gd name="connsiteX203" fmla="*/ 92808 w 1503484"/>
              <a:gd name="connsiteY203" fmla="*/ 800002 h 1280745"/>
              <a:gd name="connsiteX204" fmla="*/ 92808 w 1503484"/>
              <a:gd name="connsiteY204" fmla="*/ 903947 h 1280745"/>
              <a:gd name="connsiteX205" fmla="*/ 204177 w 1503484"/>
              <a:gd name="connsiteY205" fmla="*/ 948494 h 1280745"/>
              <a:gd name="connsiteX206" fmla="*/ 129931 w 1503484"/>
              <a:gd name="connsiteY206" fmla="*/ 922508 h 1280745"/>
              <a:gd name="connsiteX207" fmla="*/ 129931 w 1503484"/>
              <a:gd name="connsiteY207" fmla="*/ 814851 h 1280745"/>
              <a:gd name="connsiteX208" fmla="*/ 204177 w 1503484"/>
              <a:gd name="connsiteY208" fmla="*/ 838981 h 1280745"/>
              <a:gd name="connsiteX209" fmla="*/ 204177 w 1503484"/>
              <a:gd name="connsiteY209" fmla="*/ 948494 h 1280745"/>
              <a:gd name="connsiteX210" fmla="*/ 315546 w 1503484"/>
              <a:gd name="connsiteY210" fmla="*/ 972624 h 1280745"/>
              <a:gd name="connsiteX211" fmla="*/ 241300 w 1503484"/>
              <a:gd name="connsiteY211" fmla="*/ 959631 h 1280745"/>
              <a:gd name="connsiteX212" fmla="*/ 241300 w 1503484"/>
              <a:gd name="connsiteY212" fmla="*/ 850118 h 1280745"/>
              <a:gd name="connsiteX213" fmla="*/ 315546 w 1503484"/>
              <a:gd name="connsiteY213" fmla="*/ 863111 h 1280745"/>
              <a:gd name="connsiteX214" fmla="*/ 315546 w 1503484"/>
              <a:gd name="connsiteY214" fmla="*/ 972624 h 1280745"/>
              <a:gd name="connsiteX215" fmla="*/ 352669 w 1503484"/>
              <a:gd name="connsiteY215" fmla="*/ 864967 h 1280745"/>
              <a:gd name="connsiteX216" fmla="*/ 410210 w 1503484"/>
              <a:gd name="connsiteY216" fmla="*/ 870536 h 1280745"/>
              <a:gd name="connsiteX217" fmla="*/ 426915 w 1503484"/>
              <a:gd name="connsiteY217" fmla="*/ 909515 h 1280745"/>
              <a:gd name="connsiteX218" fmla="*/ 426915 w 1503484"/>
              <a:gd name="connsiteY218" fmla="*/ 983761 h 1280745"/>
              <a:gd name="connsiteX219" fmla="*/ 352669 w 1503484"/>
              <a:gd name="connsiteY219" fmla="*/ 978193 h 1280745"/>
              <a:gd name="connsiteX220" fmla="*/ 352669 w 1503484"/>
              <a:gd name="connsiteY220" fmla="*/ 864967 h 1280745"/>
              <a:gd name="connsiteX221" fmla="*/ 464038 w 1503484"/>
              <a:gd name="connsiteY221" fmla="*/ 942926 h 1280745"/>
              <a:gd name="connsiteX222" fmla="*/ 501161 w 1503484"/>
              <a:gd name="connsiteY222" fmla="*/ 965200 h 1280745"/>
              <a:gd name="connsiteX223" fmla="*/ 501161 w 1503484"/>
              <a:gd name="connsiteY223" fmla="*/ 983761 h 1280745"/>
              <a:gd name="connsiteX224" fmla="*/ 464038 w 1503484"/>
              <a:gd name="connsiteY224" fmla="*/ 983761 h 1280745"/>
              <a:gd name="connsiteX225" fmla="*/ 464038 w 1503484"/>
              <a:gd name="connsiteY225" fmla="*/ 942926 h 1280745"/>
              <a:gd name="connsiteX226" fmla="*/ 538284 w 1503484"/>
              <a:gd name="connsiteY226" fmla="*/ 1096986 h 1280745"/>
              <a:gd name="connsiteX227" fmla="*/ 538284 w 1503484"/>
              <a:gd name="connsiteY227" fmla="*/ 1022740 h 1280745"/>
              <a:gd name="connsiteX228" fmla="*/ 593969 w 1503484"/>
              <a:gd name="connsiteY228" fmla="*/ 1059863 h 1280745"/>
              <a:gd name="connsiteX229" fmla="*/ 593969 w 1503484"/>
              <a:gd name="connsiteY229" fmla="*/ 1165664 h 1280745"/>
              <a:gd name="connsiteX230" fmla="*/ 538284 w 1503484"/>
              <a:gd name="connsiteY230" fmla="*/ 1096986 h 1280745"/>
              <a:gd name="connsiteX231" fmla="*/ 538284 w 1503484"/>
              <a:gd name="connsiteY231" fmla="*/ 1096986 h 1280745"/>
              <a:gd name="connsiteX232" fmla="*/ 965200 w 1503484"/>
              <a:gd name="connsiteY232" fmla="*/ 1132253 h 1280745"/>
              <a:gd name="connsiteX233" fmla="*/ 1002323 w 1503484"/>
              <a:gd name="connsiteY233" fmla="*/ 1132253 h 1280745"/>
              <a:gd name="connsiteX234" fmla="*/ 1039446 w 1503484"/>
              <a:gd name="connsiteY234" fmla="*/ 1132253 h 1280745"/>
              <a:gd name="connsiteX235" fmla="*/ 1039446 w 1503484"/>
              <a:gd name="connsiteY235" fmla="*/ 1243623 h 1280745"/>
              <a:gd name="connsiteX236" fmla="*/ 1002323 w 1503484"/>
              <a:gd name="connsiteY236" fmla="*/ 1243623 h 1280745"/>
              <a:gd name="connsiteX237" fmla="*/ 965200 w 1503484"/>
              <a:gd name="connsiteY237" fmla="*/ 1243623 h 1280745"/>
              <a:gd name="connsiteX238" fmla="*/ 965200 w 1503484"/>
              <a:gd name="connsiteY238" fmla="*/ 1132253 h 1280745"/>
              <a:gd name="connsiteX239" fmla="*/ 1410676 w 1503484"/>
              <a:gd name="connsiteY239" fmla="*/ 1058007 h 1280745"/>
              <a:gd name="connsiteX240" fmla="*/ 1466361 w 1503484"/>
              <a:gd name="connsiteY240" fmla="*/ 1020884 h 1280745"/>
              <a:gd name="connsiteX241" fmla="*/ 1466361 w 1503484"/>
              <a:gd name="connsiteY241" fmla="*/ 1095130 h 1280745"/>
              <a:gd name="connsiteX242" fmla="*/ 1410676 w 1503484"/>
              <a:gd name="connsiteY242" fmla="*/ 1161952 h 1280745"/>
              <a:gd name="connsiteX243" fmla="*/ 1410676 w 1503484"/>
              <a:gd name="connsiteY243" fmla="*/ 1058007 h 1280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</a:cxnLst>
            <a:rect l="l" t="t" r="r" b="b"/>
            <a:pathLst>
              <a:path w="1503484" h="1280745">
                <a:moveTo>
                  <a:pt x="1410676" y="837125"/>
                </a:moveTo>
                <a:lnTo>
                  <a:pt x="1410676" y="705338"/>
                </a:lnTo>
                <a:cubicBezTo>
                  <a:pt x="1410676" y="616243"/>
                  <a:pt x="1267753" y="556846"/>
                  <a:pt x="1095130" y="532716"/>
                </a:cubicBezTo>
                <a:lnTo>
                  <a:pt x="1095130" y="426915"/>
                </a:lnTo>
                <a:cubicBezTo>
                  <a:pt x="1095130" y="397217"/>
                  <a:pt x="1078425" y="356381"/>
                  <a:pt x="1002323" y="317402"/>
                </a:cubicBezTo>
                <a:lnTo>
                  <a:pt x="1002323" y="185615"/>
                </a:lnTo>
                <a:cubicBezTo>
                  <a:pt x="1002323" y="64965"/>
                  <a:pt x="744317" y="0"/>
                  <a:pt x="501161" y="0"/>
                </a:cubicBezTo>
                <a:cubicBezTo>
                  <a:pt x="258005" y="0"/>
                  <a:pt x="0" y="64965"/>
                  <a:pt x="0" y="185615"/>
                </a:cubicBezTo>
                <a:lnTo>
                  <a:pt x="0" y="334108"/>
                </a:lnTo>
                <a:cubicBezTo>
                  <a:pt x="0" y="378655"/>
                  <a:pt x="35267" y="415778"/>
                  <a:pt x="92808" y="445477"/>
                </a:cubicBezTo>
                <a:lnTo>
                  <a:pt x="92808" y="575407"/>
                </a:lnTo>
                <a:cubicBezTo>
                  <a:pt x="92808" y="575407"/>
                  <a:pt x="92808" y="575407"/>
                  <a:pt x="92808" y="577264"/>
                </a:cubicBezTo>
                <a:cubicBezTo>
                  <a:pt x="16705" y="616243"/>
                  <a:pt x="0" y="658934"/>
                  <a:pt x="0" y="686777"/>
                </a:cubicBezTo>
                <a:lnTo>
                  <a:pt x="0" y="835269"/>
                </a:lnTo>
                <a:cubicBezTo>
                  <a:pt x="0" y="955919"/>
                  <a:pt x="258005" y="1020884"/>
                  <a:pt x="501161" y="1020884"/>
                </a:cubicBezTo>
                <a:lnTo>
                  <a:pt x="501161" y="1095130"/>
                </a:lnTo>
                <a:cubicBezTo>
                  <a:pt x="501161" y="1215780"/>
                  <a:pt x="759167" y="1280746"/>
                  <a:pt x="1002323" y="1280746"/>
                </a:cubicBezTo>
                <a:cubicBezTo>
                  <a:pt x="1245479" y="1280746"/>
                  <a:pt x="1503484" y="1215780"/>
                  <a:pt x="1503484" y="1095130"/>
                </a:cubicBezTo>
                <a:lnTo>
                  <a:pt x="1503484" y="946638"/>
                </a:lnTo>
                <a:cubicBezTo>
                  <a:pt x="1503484" y="918796"/>
                  <a:pt x="1486779" y="876104"/>
                  <a:pt x="1410676" y="837125"/>
                </a:cubicBezTo>
                <a:close/>
                <a:moveTo>
                  <a:pt x="1466361" y="948494"/>
                </a:moveTo>
                <a:cubicBezTo>
                  <a:pt x="1466361" y="1019028"/>
                  <a:pt x="1275177" y="1096986"/>
                  <a:pt x="1002323" y="1096986"/>
                </a:cubicBezTo>
                <a:cubicBezTo>
                  <a:pt x="785153" y="1096986"/>
                  <a:pt x="619955" y="1046870"/>
                  <a:pt x="560558" y="991186"/>
                </a:cubicBezTo>
                <a:cubicBezTo>
                  <a:pt x="560558" y="991186"/>
                  <a:pt x="560558" y="991186"/>
                  <a:pt x="560558" y="991186"/>
                </a:cubicBezTo>
                <a:cubicBezTo>
                  <a:pt x="673784" y="1026453"/>
                  <a:pt x="790721" y="1043158"/>
                  <a:pt x="907659" y="1041302"/>
                </a:cubicBezTo>
                <a:cubicBezTo>
                  <a:pt x="1134110" y="1041302"/>
                  <a:pt x="1375410" y="983761"/>
                  <a:pt x="1405108" y="879817"/>
                </a:cubicBezTo>
                <a:cubicBezTo>
                  <a:pt x="1445943" y="900234"/>
                  <a:pt x="1466361" y="924364"/>
                  <a:pt x="1466361" y="948494"/>
                </a:cubicBezTo>
                <a:close/>
                <a:moveTo>
                  <a:pt x="1150815" y="1124829"/>
                </a:moveTo>
                <a:lnTo>
                  <a:pt x="1150815" y="1236198"/>
                </a:lnTo>
                <a:cubicBezTo>
                  <a:pt x="1126685" y="1238054"/>
                  <a:pt x="1102555" y="1241766"/>
                  <a:pt x="1076569" y="1241766"/>
                </a:cubicBezTo>
                <a:lnTo>
                  <a:pt x="1076569" y="1130397"/>
                </a:lnTo>
                <a:cubicBezTo>
                  <a:pt x="1102555" y="1130397"/>
                  <a:pt x="1126685" y="1128541"/>
                  <a:pt x="1150815" y="1124829"/>
                </a:cubicBezTo>
                <a:close/>
                <a:moveTo>
                  <a:pt x="1187938" y="1121117"/>
                </a:moveTo>
                <a:cubicBezTo>
                  <a:pt x="1213924" y="1117404"/>
                  <a:pt x="1238054" y="1113692"/>
                  <a:pt x="1262184" y="1108124"/>
                </a:cubicBezTo>
                <a:lnTo>
                  <a:pt x="1262184" y="1217636"/>
                </a:lnTo>
                <a:cubicBezTo>
                  <a:pt x="1239910" y="1223205"/>
                  <a:pt x="1213924" y="1226917"/>
                  <a:pt x="1187938" y="1230630"/>
                </a:cubicBezTo>
                <a:lnTo>
                  <a:pt x="1187938" y="1121117"/>
                </a:lnTo>
                <a:close/>
                <a:moveTo>
                  <a:pt x="1299307" y="1098843"/>
                </a:moveTo>
                <a:cubicBezTo>
                  <a:pt x="1325293" y="1093274"/>
                  <a:pt x="1349423" y="1083993"/>
                  <a:pt x="1373553" y="1074713"/>
                </a:cubicBezTo>
                <a:lnTo>
                  <a:pt x="1373553" y="1182370"/>
                </a:lnTo>
                <a:cubicBezTo>
                  <a:pt x="1349423" y="1193507"/>
                  <a:pt x="1325293" y="1200931"/>
                  <a:pt x="1299307" y="1208356"/>
                </a:cubicBezTo>
                <a:lnTo>
                  <a:pt x="1299307" y="1098843"/>
                </a:lnTo>
                <a:close/>
                <a:moveTo>
                  <a:pt x="705338" y="1208356"/>
                </a:moveTo>
                <a:cubicBezTo>
                  <a:pt x="679352" y="1200931"/>
                  <a:pt x="655222" y="1193507"/>
                  <a:pt x="631092" y="1182370"/>
                </a:cubicBezTo>
                <a:lnTo>
                  <a:pt x="631092" y="1074713"/>
                </a:lnTo>
                <a:cubicBezTo>
                  <a:pt x="655222" y="1083993"/>
                  <a:pt x="679352" y="1091418"/>
                  <a:pt x="705338" y="1098843"/>
                </a:cubicBezTo>
                <a:lnTo>
                  <a:pt x="705338" y="1208356"/>
                </a:lnTo>
                <a:close/>
                <a:moveTo>
                  <a:pt x="742461" y="1108124"/>
                </a:moveTo>
                <a:cubicBezTo>
                  <a:pt x="766591" y="1113692"/>
                  <a:pt x="790721" y="1117404"/>
                  <a:pt x="816707" y="1121117"/>
                </a:cubicBezTo>
                <a:lnTo>
                  <a:pt x="816707" y="1232486"/>
                </a:lnTo>
                <a:cubicBezTo>
                  <a:pt x="790721" y="1228773"/>
                  <a:pt x="764735" y="1223205"/>
                  <a:pt x="742461" y="1219493"/>
                </a:cubicBezTo>
                <a:lnTo>
                  <a:pt x="742461" y="1108124"/>
                </a:lnTo>
                <a:close/>
                <a:moveTo>
                  <a:pt x="853831" y="1124829"/>
                </a:moveTo>
                <a:cubicBezTo>
                  <a:pt x="877960" y="1126685"/>
                  <a:pt x="903947" y="1130397"/>
                  <a:pt x="928077" y="1130397"/>
                </a:cubicBezTo>
                <a:lnTo>
                  <a:pt x="928077" y="1241766"/>
                </a:lnTo>
                <a:cubicBezTo>
                  <a:pt x="902090" y="1239910"/>
                  <a:pt x="877960" y="1238054"/>
                  <a:pt x="853831" y="1236198"/>
                </a:cubicBezTo>
                <a:lnTo>
                  <a:pt x="853831" y="1124829"/>
                </a:lnTo>
                <a:close/>
                <a:moveTo>
                  <a:pt x="408354" y="707194"/>
                </a:moveTo>
                <a:lnTo>
                  <a:pt x="408354" y="712763"/>
                </a:lnTo>
                <a:cubicBezTo>
                  <a:pt x="382368" y="709051"/>
                  <a:pt x="356381" y="703482"/>
                  <a:pt x="334108" y="699770"/>
                </a:cubicBezTo>
                <a:lnTo>
                  <a:pt x="334108" y="590257"/>
                </a:lnTo>
                <a:cubicBezTo>
                  <a:pt x="358238" y="595825"/>
                  <a:pt x="382368" y="599538"/>
                  <a:pt x="408354" y="603250"/>
                </a:cubicBezTo>
                <a:lnTo>
                  <a:pt x="408354" y="707194"/>
                </a:lnTo>
                <a:close/>
                <a:moveTo>
                  <a:pt x="445477" y="855687"/>
                </a:moveTo>
                <a:lnTo>
                  <a:pt x="445477" y="781441"/>
                </a:lnTo>
                <a:cubicBezTo>
                  <a:pt x="462182" y="796290"/>
                  <a:pt x="480744" y="809283"/>
                  <a:pt x="501161" y="818564"/>
                </a:cubicBezTo>
                <a:lnTo>
                  <a:pt x="501161" y="924364"/>
                </a:lnTo>
                <a:cubicBezTo>
                  <a:pt x="465894" y="900234"/>
                  <a:pt x="445477" y="877960"/>
                  <a:pt x="445477" y="855687"/>
                </a:cubicBezTo>
                <a:lnTo>
                  <a:pt x="445477" y="855687"/>
                </a:lnTo>
                <a:close/>
                <a:moveTo>
                  <a:pt x="1373553" y="855687"/>
                </a:moveTo>
                <a:cubicBezTo>
                  <a:pt x="1373553" y="877960"/>
                  <a:pt x="1353136" y="902090"/>
                  <a:pt x="1317869" y="922508"/>
                </a:cubicBezTo>
                <a:lnTo>
                  <a:pt x="1317869" y="816707"/>
                </a:lnTo>
                <a:cubicBezTo>
                  <a:pt x="1338286" y="807427"/>
                  <a:pt x="1356848" y="794434"/>
                  <a:pt x="1373553" y="779584"/>
                </a:cubicBezTo>
                <a:lnTo>
                  <a:pt x="1373553" y="855687"/>
                </a:lnTo>
                <a:close/>
                <a:moveTo>
                  <a:pt x="1280746" y="941070"/>
                </a:moveTo>
                <a:cubicBezTo>
                  <a:pt x="1256616" y="952207"/>
                  <a:pt x="1232486" y="959631"/>
                  <a:pt x="1206500" y="967056"/>
                </a:cubicBezTo>
                <a:lnTo>
                  <a:pt x="1206500" y="857543"/>
                </a:lnTo>
                <a:cubicBezTo>
                  <a:pt x="1232486" y="851974"/>
                  <a:pt x="1256616" y="842694"/>
                  <a:pt x="1280746" y="833413"/>
                </a:cubicBezTo>
                <a:lnTo>
                  <a:pt x="1280746" y="941070"/>
                </a:lnTo>
                <a:close/>
                <a:moveTo>
                  <a:pt x="1169377" y="976337"/>
                </a:moveTo>
                <a:cubicBezTo>
                  <a:pt x="1147103" y="981905"/>
                  <a:pt x="1121117" y="985617"/>
                  <a:pt x="1095130" y="989330"/>
                </a:cubicBezTo>
                <a:lnTo>
                  <a:pt x="1095130" y="877960"/>
                </a:lnTo>
                <a:cubicBezTo>
                  <a:pt x="1121117" y="874248"/>
                  <a:pt x="1145247" y="870536"/>
                  <a:pt x="1169377" y="864967"/>
                </a:cubicBezTo>
                <a:lnTo>
                  <a:pt x="1169377" y="976337"/>
                </a:lnTo>
                <a:close/>
                <a:moveTo>
                  <a:pt x="1058007" y="994898"/>
                </a:moveTo>
                <a:cubicBezTo>
                  <a:pt x="1033877" y="996754"/>
                  <a:pt x="1009747" y="1000467"/>
                  <a:pt x="983761" y="1000467"/>
                </a:cubicBezTo>
                <a:lnTo>
                  <a:pt x="983761" y="889097"/>
                </a:lnTo>
                <a:cubicBezTo>
                  <a:pt x="1007891" y="887241"/>
                  <a:pt x="1033877" y="885385"/>
                  <a:pt x="1058007" y="883529"/>
                </a:cubicBezTo>
                <a:lnTo>
                  <a:pt x="1058007" y="994898"/>
                </a:lnTo>
                <a:close/>
                <a:moveTo>
                  <a:pt x="946638" y="1002323"/>
                </a:moveTo>
                <a:cubicBezTo>
                  <a:pt x="933645" y="1002323"/>
                  <a:pt x="922508" y="1002323"/>
                  <a:pt x="909515" y="1002323"/>
                </a:cubicBezTo>
                <a:cubicBezTo>
                  <a:pt x="896522" y="1002323"/>
                  <a:pt x="885385" y="1002323"/>
                  <a:pt x="872392" y="1002323"/>
                </a:cubicBezTo>
                <a:lnTo>
                  <a:pt x="872392" y="890953"/>
                </a:lnTo>
                <a:cubicBezTo>
                  <a:pt x="885385" y="890953"/>
                  <a:pt x="896522" y="890953"/>
                  <a:pt x="909515" y="890953"/>
                </a:cubicBezTo>
                <a:cubicBezTo>
                  <a:pt x="922508" y="890953"/>
                  <a:pt x="933645" y="890953"/>
                  <a:pt x="946638" y="890953"/>
                </a:cubicBezTo>
                <a:lnTo>
                  <a:pt x="946638" y="1002323"/>
                </a:lnTo>
                <a:close/>
                <a:moveTo>
                  <a:pt x="835269" y="1002323"/>
                </a:moveTo>
                <a:cubicBezTo>
                  <a:pt x="809283" y="1000467"/>
                  <a:pt x="785153" y="998610"/>
                  <a:pt x="761023" y="996754"/>
                </a:cubicBezTo>
                <a:lnTo>
                  <a:pt x="761023" y="885385"/>
                </a:lnTo>
                <a:cubicBezTo>
                  <a:pt x="785153" y="887241"/>
                  <a:pt x="811139" y="890953"/>
                  <a:pt x="835269" y="890953"/>
                </a:cubicBezTo>
                <a:lnTo>
                  <a:pt x="835269" y="1002323"/>
                </a:lnTo>
                <a:close/>
                <a:moveTo>
                  <a:pt x="723900" y="991186"/>
                </a:moveTo>
                <a:cubicBezTo>
                  <a:pt x="697914" y="987474"/>
                  <a:pt x="671927" y="981905"/>
                  <a:pt x="649654" y="978193"/>
                </a:cubicBezTo>
                <a:lnTo>
                  <a:pt x="649654" y="868680"/>
                </a:lnTo>
                <a:cubicBezTo>
                  <a:pt x="673784" y="874248"/>
                  <a:pt x="697914" y="877960"/>
                  <a:pt x="723900" y="881673"/>
                </a:cubicBezTo>
                <a:lnTo>
                  <a:pt x="723900" y="991186"/>
                </a:lnTo>
                <a:close/>
                <a:moveTo>
                  <a:pt x="612531" y="967056"/>
                </a:moveTo>
                <a:cubicBezTo>
                  <a:pt x="586544" y="959631"/>
                  <a:pt x="562414" y="952207"/>
                  <a:pt x="538284" y="941070"/>
                </a:cubicBezTo>
                <a:lnTo>
                  <a:pt x="538284" y="833413"/>
                </a:lnTo>
                <a:cubicBezTo>
                  <a:pt x="562414" y="842694"/>
                  <a:pt x="586544" y="850118"/>
                  <a:pt x="612531" y="857543"/>
                </a:cubicBezTo>
                <a:lnTo>
                  <a:pt x="612531" y="967056"/>
                </a:lnTo>
                <a:close/>
                <a:moveTo>
                  <a:pt x="1373553" y="707194"/>
                </a:moveTo>
                <a:cubicBezTo>
                  <a:pt x="1373553" y="777728"/>
                  <a:pt x="1182370" y="855687"/>
                  <a:pt x="909515" y="855687"/>
                </a:cubicBezTo>
                <a:cubicBezTo>
                  <a:pt x="636661" y="855687"/>
                  <a:pt x="445477" y="777728"/>
                  <a:pt x="445477" y="707194"/>
                </a:cubicBezTo>
                <a:cubicBezTo>
                  <a:pt x="445477" y="636661"/>
                  <a:pt x="636661" y="558702"/>
                  <a:pt x="909515" y="558702"/>
                </a:cubicBezTo>
                <a:cubicBezTo>
                  <a:pt x="1182370" y="558702"/>
                  <a:pt x="1373553" y="636661"/>
                  <a:pt x="1373553" y="707194"/>
                </a:cubicBezTo>
                <a:close/>
                <a:moveTo>
                  <a:pt x="445477" y="632948"/>
                </a:moveTo>
                <a:lnTo>
                  <a:pt x="445477" y="605106"/>
                </a:lnTo>
                <a:cubicBezTo>
                  <a:pt x="456614" y="606962"/>
                  <a:pt x="467751" y="606962"/>
                  <a:pt x="478888" y="608818"/>
                </a:cubicBezTo>
                <a:cubicBezTo>
                  <a:pt x="467751" y="616243"/>
                  <a:pt x="456614" y="623667"/>
                  <a:pt x="445477" y="632948"/>
                </a:cubicBezTo>
                <a:close/>
                <a:moveTo>
                  <a:pt x="1026453" y="525291"/>
                </a:moveTo>
                <a:cubicBezTo>
                  <a:pt x="1037590" y="517867"/>
                  <a:pt x="1048727" y="510442"/>
                  <a:pt x="1059864" y="501161"/>
                </a:cubicBezTo>
                <a:lnTo>
                  <a:pt x="1059864" y="529004"/>
                </a:lnTo>
                <a:cubicBezTo>
                  <a:pt x="1046870" y="527148"/>
                  <a:pt x="1037590" y="527148"/>
                  <a:pt x="1026453" y="525291"/>
                </a:cubicBezTo>
                <a:close/>
                <a:moveTo>
                  <a:pt x="998610" y="358238"/>
                </a:moveTo>
                <a:cubicBezTo>
                  <a:pt x="1037590" y="380511"/>
                  <a:pt x="1058007" y="404641"/>
                  <a:pt x="1058007" y="426915"/>
                </a:cubicBezTo>
                <a:cubicBezTo>
                  <a:pt x="1058007" y="458470"/>
                  <a:pt x="1017172" y="493737"/>
                  <a:pt x="948494" y="519723"/>
                </a:cubicBezTo>
                <a:cubicBezTo>
                  <a:pt x="935501" y="519723"/>
                  <a:pt x="922508" y="519723"/>
                  <a:pt x="909515" y="519723"/>
                </a:cubicBezTo>
                <a:cubicBezTo>
                  <a:pt x="779584" y="519723"/>
                  <a:pt x="644085" y="538284"/>
                  <a:pt x="547565" y="575407"/>
                </a:cubicBezTo>
                <a:cubicBezTo>
                  <a:pt x="352669" y="569839"/>
                  <a:pt x="207889" y="523435"/>
                  <a:pt x="154061" y="471463"/>
                </a:cubicBezTo>
                <a:cubicBezTo>
                  <a:pt x="154061" y="471463"/>
                  <a:pt x="154061" y="471463"/>
                  <a:pt x="154061" y="471463"/>
                </a:cubicBezTo>
                <a:cubicBezTo>
                  <a:pt x="267286" y="506730"/>
                  <a:pt x="384224" y="523435"/>
                  <a:pt x="501161" y="521579"/>
                </a:cubicBezTo>
                <a:cubicBezTo>
                  <a:pt x="727612" y="521579"/>
                  <a:pt x="968912" y="464038"/>
                  <a:pt x="998610" y="358238"/>
                </a:cubicBezTo>
                <a:close/>
                <a:moveTo>
                  <a:pt x="296985" y="579120"/>
                </a:moveTo>
                <a:lnTo>
                  <a:pt x="296985" y="688633"/>
                </a:lnTo>
                <a:cubicBezTo>
                  <a:pt x="270998" y="681208"/>
                  <a:pt x="246868" y="673784"/>
                  <a:pt x="222738" y="662647"/>
                </a:cubicBezTo>
                <a:lnTo>
                  <a:pt x="222738" y="554990"/>
                </a:lnTo>
                <a:cubicBezTo>
                  <a:pt x="246868" y="564271"/>
                  <a:pt x="272855" y="573551"/>
                  <a:pt x="296985" y="579120"/>
                </a:cubicBezTo>
                <a:close/>
                <a:moveTo>
                  <a:pt x="185615" y="538284"/>
                </a:moveTo>
                <a:lnTo>
                  <a:pt x="185615" y="644085"/>
                </a:lnTo>
                <a:cubicBezTo>
                  <a:pt x="150348" y="621811"/>
                  <a:pt x="129931" y="599538"/>
                  <a:pt x="129931" y="577264"/>
                </a:cubicBezTo>
                <a:lnTo>
                  <a:pt x="129931" y="503018"/>
                </a:lnTo>
                <a:cubicBezTo>
                  <a:pt x="146636" y="516011"/>
                  <a:pt x="165198" y="529004"/>
                  <a:pt x="185615" y="538284"/>
                </a:cubicBezTo>
                <a:close/>
                <a:moveTo>
                  <a:pt x="129931" y="421347"/>
                </a:moveTo>
                <a:lnTo>
                  <a:pt x="129931" y="313690"/>
                </a:lnTo>
                <a:cubicBezTo>
                  <a:pt x="154061" y="322971"/>
                  <a:pt x="178191" y="330395"/>
                  <a:pt x="204177" y="337820"/>
                </a:cubicBezTo>
                <a:lnTo>
                  <a:pt x="204177" y="447333"/>
                </a:lnTo>
                <a:cubicBezTo>
                  <a:pt x="180047" y="439908"/>
                  <a:pt x="154061" y="432484"/>
                  <a:pt x="129931" y="421347"/>
                </a:cubicBezTo>
                <a:close/>
                <a:moveTo>
                  <a:pt x="241300" y="456614"/>
                </a:moveTo>
                <a:lnTo>
                  <a:pt x="241300" y="347101"/>
                </a:lnTo>
                <a:cubicBezTo>
                  <a:pt x="265430" y="352669"/>
                  <a:pt x="289560" y="356381"/>
                  <a:pt x="315546" y="360094"/>
                </a:cubicBezTo>
                <a:lnTo>
                  <a:pt x="315546" y="471463"/>
                </a:lnTo>
                <a:cubicBezTo>
                  <a:pt x="289560" y="467751"/>
                  <a:pt x="265430" y="462182"/>
                  <a:pt x="241300" y="456614"/>
                </a:cubicBezTo>
                <a:close/>
                <a:moveTo>
                  <a:pt x="352669" y="475175"/>
                </a:moveTo>
                <a:lnTo>
                  <a:pt x="352669" y="363806"/>
                </a:lnTo>
                <a:cubicBezTo>
                  <a:pt x="376799" y="365662"/>
                  <a:pt x="402785" y="369374"/>
                  <a:pt x="426915" y="369374"/>
                </a:cubicBezTo>
                <a:lnTo>
                  <a:pt x="426915" y="480744"/>
                </a:lnTo>
                <a:cubicBezTo>
                  <a:pt x="400929" y="480744"/>
                  <a:pt x="376799" y="478888"/>
                  <a:pt x="352669" y="475175"/>
                </a:cubicBezTo>
                <a:close/>
                <a:moveTo>
                  <a:pt x="464038" y="482600"/>
                </a:moveTo>
                <a:lnTo>
                  <a:pt x="464038" y="371231"/>
                </a:lnTo>
                <a:cubicBezTo>
                  <a:pt x="477031" y="371231"/>
                  <a:pt x="488168" y="371231"/>
                  <a:pt x="501161" y="371231"/>
                </a:cubicBezTo>
                <a:cubicBezTo>
                  <a:pt x="514154" y="371231"/>
                  <a:pt x="525291" y="371231"/>
                  <a:pt x="538284" y="371231"/>
                </a:cubicBezTo>
                <a:lnTo>
                  <a:pt x="538284" y="482600"/>
                </a:lnTo>
                <a:cubicBezTo>
                  <a:pt x="525291" y="482600"/>
                  <a:pt x="514154" y="482600"/>
                  <a:pt x="501161" y="482600"/>
                </a:cubicBezTo>
                <a:cubicBezTo>
                  <a:pt x="488168" y="482600"/>
                  <a:pt x="477031" y="484456"/>
                  <a:pt x="464038" y="482600"/>
                </a:cubicBezTo>
                <a:close/>
                <a:moveTo>
                  <a:pt x="575408" y="482600"/>
                </a:moveTo>
                <a:lnTo>
                  <a:pt x="575408" y="371231"/>
                </a:lnTo>
                <a:cubicBezTo>
                  <a:pt x="599538" y="369374"/>
                  <a:pt x="625524" y="367518"/>
                  <a:pt x="649654" y="365662"/>
                </a:cubicBezTo>
                <a:lnTo>
                  <a:pt x="649654" y="477031"/>
                </a:lnTo>
                <a:cubicBezTo>
                  <a:pt x="625524" y="478888"/>
                  <a:pt x="601394" y="480744"/>
                  <a:pt x="575408" y="482600"/>
                </a:cubicBezTo>
                <a:close/>
                <a:moveTo>
                  <a:pt x="686777" y="471463"/>
                </a:moveTo>
                <a:lnTo>
                  <a:pt x="686777" y="360094"/>
                </a:lnTo>
                <a:cubicBezTo>
                  <a:pt x="712763" y="356381"/>
                  <a:pt x="736893" y="352669"/>
                  <a:pt x="761023" y="347101"/>
                </a:cubicBezTo>
                <a:lnTo>
                  <a:pt x="761023" y="456614"/>
                </a:lnTo>
                <a:cubicBezTo>
                  <a:pt x="738749" y="462182"/>
                  <a:pt x="712763" y="467751"/>
                  <a:pt x="686777" y="471463"/>
                </a:cubicBezTo>
                <a:close/>
                <a:moveTo>
                  <a:pt x="798146" y="447333"/>
                </a:moveTo>
                <a:lnTo>
                  <a:pt x="798146" y="337820"/>
                </a:lnTo>
                <a:cubicBezTo>
                  <a:pt x="824132" y="332251"/>
                  <a:pt x="848262" y="322971"/>
                  <a:pt x="872392" y="313690"/>
                </a:cubicBezTo>
                <a:lnTo>
                  <a:pt x="872392" y="421347"/>
                </a:lnTo>
                <a:cubicBezTo>
                  <a:pt x="848262" y="432484"/>
                  <a:pt x="824132" y="439908"/>
                  <a:pt x="798146" y="447333"/>
                </a:cubicBezTo>
                <a:close/>
                <a:moveTo>
                  <a:pt x="909515" y="402785"/>
                </a:moveTo>
                <a:lnTo>
                  <a:pt x="909515" y="296985"/>
                </a:lnTo>
                <a:cubicBezTo>
                  <a:pt x="929933" y="287704"/>
                  <a:pt x="948494" y="274711"/>
                  <a:pt x="965200" y="259861"/>
                </a:cubicBezTo>
                <a:lnTo>
                  <a:pt x="965200" y="334108"/>
                </a:lnTo>
                <a:cubicBezTo>
                  <a:pt x="965200" y="358238"/>
                  <a:pt x="946638" y="380511"/>
                  <a:pt x="909515" y="402785"/>
                </a:cubicBezTo>
                <a:close/>
                <a:moveTo>
                  <a:pt x="92808" y="402785"/>
                </a:moveTo>
                <a:cubicBezTo>
                  <a:pt x="57541" y="380511"/>
                  <a:pt x="37123" y="358238"/>
                  <a:pt x="37123" y="335964"/>
                </a:cubicBezTo>
                <a:lnTo>
                  <a:pt x="37123" y="261718"/>
                </a:lnTo>
                <a:cubicBezTo>
                  <a:pt x="53828" y="276567"/>
                  <a:pt x="72390" y="289560"/>
                  <a:pt x="92808" y="298841"/>
                </a:cubicBezTo>
                <a:lnTo>
                  <a:pt x="92808" y="402785"/>
                </a:lnTo>
                <a:close/>
                <a:moveTo>
                  <a:pt x="37123" y="187471"/>
                </a:moveTo>
                <a:cubicBezTo>
                  <a:pt x="37123" y="116938"/>
                  <a:pt x="228307" y="38979"/>
                  <a:pt x="501161" y="38979"/>
                </a:cubicBezTo>
                <a:cubicBezTo>
                  <a:pt x="774016" y="38979"/>
                  <a:pt x="965200" y="116938"/>
                  <a:pt x="965200" y="187471"/>
                </a:cubicBezTo>
                <a:cubicBezTo>
                  <a:pt x="965200" y="258005"/>
                  <a:pt x="774016" y="335964"/>
                  <a:pt x="501161" y="335964"/>
                </a:cubicBezTo>
                <a:cubicBezTo>
                  <a:pt x="228307" y="335964"/>
                  <a:pt x="37123" y="256149"/>
                  <a:pt x="37123" y="187471"/>
                </a:cubicBezTo>
                <a:close/>
                <a:moveTo>
                  <a:pt x="102088" y="614387"/>
                </a:moveTo>
                <a:cubicBezTo>
                  <a:pt x="135499" y="683064"/>
                  <a:pt x="261718" y="727612"/>
                  <a:pt x="408354" y="748030"/>
                </a:cubicBezTo>
                <a:lnTo>
                  <a:pt x="408354" y="831557"/>
                </a:lnTo>
                <a:cubicBezTo>
                  <a:pt x="185615" y="816707"/>
                  <a:pt x="37123" y="748030"/>
                  <a:pt x="37123" y="686777"/>
                </a:cubicBezTo>
                <a:cubicBezTo>
                  <a:pt x="37123" y="662647"/>
                  <a:pt x="61253" y="638517"/>
                  <a:pt x="102088" y="614387"/>
                </a:cubicBezTo>
                <a:close/>
                <a:moveTo>
                  <a:pt x="92808" y="903947"/>
                </a:moveTo>
                <a:cubicBezTo>
                  <a:pt x="57541" y="881673"/>
                  <a:pt x="37123" y="859399"/>
                  <a:pt x="37123" y="837125"/>
                </a:cubicBezTo>
                <a:lnTo>
                  <a:pt x="37123" y="762879"/>
                </a:lnTo>
                <a:cubicBezTo>
                  <a:pt x="53828" y="777728"/>
                  <a:pt x="72390" y="790721"/>
                  <a:pt x="92808" y="800002"/>
                </a:cubicBezTo>
                <a:lnTo>
                  <a:pt x="92808" y="903947"/>
                </a:lnTo>
                <a:close/>
                <a:moveTo>
                  <a:pt x="204177" y="948494"/>
                </a:moveTo>
                <a:cubicBezTo>
                  <a:pt x="178191" y="941070"/>
                  <a:pt x="154061" y="933645"/>
                  <a:pt x="129931" y="922508"/>
                </a:cubicBezTo>
                <a:lnTo>
                  <a:pt x="129931" y="814851"/>
                </a:lnTo>
                <a:cubicBezTo>
                  <a:pt x="154061" y="824132"/>
                  <a:pt x="178191" y="831557"/>
                  <a:pt x="204177" y="838981"/>
                </a:cubicBezTo>
                <a:lnTo>
                  <a:pt x="204177" y="948494"/>
                </a:lnTo>
                <a:close/>
                <a:moveTo>
                  <a:pt x="315546" y="972624"/>
                </a:moveTo>
                <a:cubicBezTo>
                  <a:pt x="289560" y="968912"/>
                  <a:pt x="263574" y="963343"/>
                  <a:pt x="241300" y="959631"/>
                </a:cubicBezTo>
                <a:lnTo>
                  <a:pt x="241300" y="850118"/>
                </a:lnTo>
                <a:cubicBezTo>
                  <a:pt x="265430" y="855687"/>
                  <a:pt x="289560" y="859399"/>
                  <a:pt x="315546" y="863111"/>
                </a:cubicBezTo>
                <a:lnTo>
                  <a:pt x="315546" y="972624"/>
                </a:lnTo>
                <a:close/>
                <a:moveTo>
                  <a:pt x="352669" y="864967"/>
                </a:moveTo>
                <a:cubicBezTo>
                  <a:pt x="371231" y="866824"/>
                  <a:pt x="389792" y="868680"/>
                  <a:pt x="410210" y="870536"/>
                </a:cubicBezTo>
                <a:cubicBezTo>
                  <a:pt x="412066" y="883529"/>
                  <a:pt x="419491" y="896522"/>
                  <a:pt x="426915" y="909515"/>
                </a:cubicBezTo>
                <a:lnTo>
                  <a:pt x="426915" y="983761"/>
                </a:lnTo>
                <a:cubicBezTo>
                  <a:pt x="400929" y="981905"/>
                  <a:pt x="376799" y="980049"/>
                  <a:pt x="352669" y="978193"/>
                </a:cubicBezTo>
                <a:lnTo>
                  <a:pt x="352669" y="864967"/>
                </a:lnTo>
                <a:close/>
                <a:moveTo>
                  <a:pt x="464038" y="942926"/>
                </a:moveTo>
                <a:cubicBezTo>
                  <a:pt x="475175" y="950350"/>
                  <a:pt x="488168" y="957775"/>
                  <a:pt x="501161" y="965200"/>
                </a:cubicBezTo>
                <a:lnTo>
                  <a:pt x="501161" y="983761"/>
                </a:lnTo>
                <a:cubicBezTo>
                  <a:pt x="488168" y="983761"/>
                  <a:pt x="477031" y="983761"/>
                  <a:pt x="464038" y="983761"/>
                </a:cubicBezTo>
                <a:lnTo>
                  <a:pt x="464038" y="942926"/>
                </a:lnTo>
                <a:close/>
                <a:moveTo>
                  <a:pt x="538284" y="1096986"/>
                </a:moveTo>
                <a:lnTo>
                  <a:pt x="538284" y="1022740"/>
                </a:lnTo>
                <a:cubicBezTo>
                  <a:pt x="554990" y="1037590"/>
                  <a:pt x="573551" y="1050583"/>
                  <a:pt x="593969" y="1059863"/>
                </a:cubicBezTo>
                <a:lnTo>
                  <a:pt x="593969" y="1165664"/>
                </a:lnTo>
                <a:cubicBezTo>
                  <a:pt x="558702" y="1141534"/>
                  <a:pt x="538284" y="1119260"/>
                  <a:pt x="538284" y="1096986"/>
                </a:cubicBezTo>
                <a:lnTo>
                  <a:pt x="538284" y="1096986"/>
                </a:lnTo>
                <a:close/>
                <a:moveTo>
                  <a:pt x="965200" y="1132253"/>
                </a:moveTo>
                <a:cubicBezTo>
                  <a:pt x="978193" y="1132253"/>
                  <a:pt x="989330" y="1132253"/>
                  <a:pt x="1002323" y="1132253"/>
                </a:cubicBezTo>
                <a:cubicBezTo>
                  <a:pt x="1015316" y="1132253"/>
                  <a:pt x="1026453" y="1132253"/>
                  <a:pt x="1039446" y="1132253"/>
                </a:cubicBezTo>
                <a:lnTo>
                  <a:pt x="1039446" y="1243623"/>
                </a:lnTo>
                <a:cubicBezTo>
                  <a:pt x="1026453" y="1243623"/>
                  <a:pt x="1015316" y="1243623"/>
                  <a:pt x="1002323" y="1243623"/>
                </a:cubicBezTo>
                <a:cubicBezTo>
                  <a:pt x="989330" y="1243623"/>
                  <a:pt x="978193" y="1243623"/>
                  <a:pt x="965200" y="1243623"/>
                </a:cubicBezTo>
                <a:lnTo>
                  <a:pt x="965200" y="1132253"/>
                </a:lnTo>
                <a:close/>
                <a:moveTo>
                  <a:pt x="1410676" y="1058007"/>
                </a:moveTo>
                <a:cubicBezTo>
                  <a:pt x="1431094" y="1048727"/>
                  <a:pt x="1449656" y="1035733"/>
                  <a:pt x="1466361" y="1020884"/>
                </a:cubicBezTo>
                <a:lnTo>
                  <a:pt x="1466361" y="1095130"/>
                </a:lnTo>
                <a:cubicBezTo>
                  <a:pt x="1466361" y="1117404"/>
                  <a:pt x="1445943" y="1141534"/>
                  <a:pt x="1410676" y="1161952"/>
                </a:cubicBezTo>
                <a:lnTo>
                  <a:pt x="1410676" y="1058007"/>
                </a:lnTo>
                <a:close/>
              </a:path>
            </a:pathLst>
          </a:custGeom>
          <a:solidFill>
            <a:srgbClr val="000000"/>
          </a:solidFill>
          <a:ln w="18554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0B4BB6-4E02-B1BB-841F-6AEAD4BC9167}"/>
              </a:ext>
            </a:extLst>
          </p:cNvPr>
          <p:cNvSpPr txBox="1"/>
          <p:nvPr/>
        </p:nvSpPr>
        <p:spPr>
          <a:xfrm>
            <a:off x="1182161" y="4371213"/>
            <a:ext cx="26039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he cost of acquiring new customers in the last few years</a:t>
            </a:r>
          </a:p>
        </p:txBody>
      </p:sp>
      <p:grpSp>
        <p:nvGrpSpPr>
          <p:cNvPr id="10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F1ADB23-A870-4455-AC4C-F85E8EA527A6}"/>
              </a:ext>
            </a:extLst>
          </p:cNvPr>
          <p:cNvGrpSpPr>
            <a:grpSpLocks noChangeAspect="1"/>
          </p:cNvGrpSpPr>
          <p:nvPr/>
        </p:nvGrpSpPr>
        <p:grpSpPr>
          <a:xfrm>
            <a:off x="1970489" y="2486251"/>
            <a:ext cx="743422" cy="736600"/>
            <a:chOff x="6004176" y="1690066"/>
            <a:chExt cx="1039285" cy="1029748"/>
          </a:xfrm>
        </p:grpSpPr>
        <p:sp>
          <p:nvSpPr>
            <p:cNvPr id="11" name="Freeform 195">
              <a:extLst>
                <a:ext uri="{FF2B5EF4-FFF2-40B4-BE49-F238E27FC236}">
                  <a16:creationId xmlns:a16="http://schemas.microsoft.com/office/drawing/2014/main" id="{0506933F-B43B-135C-52CF-3D1BA307C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96">
              <a:extLst>
                <a:ext uri="{FF2B5EF4-FFF2-40B4-BE49-F238E27FC236}">
                  <a16:creationId xmlns:a16="http://schemas.microsoft.com/office/drawing/2014/main" id="{D9B7FE21-3AD0-A6FB-B977-11FC0D8E2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97">
              <a:extLst>
                <a:ext uri="{FF2B5EF4-FFF2-40B4-BE49-F238E27FC236}">
                  <a16:creationId xmlns:a16="http://schemas.microsoft.com/office/drawing/2014/main" id="{455A7C5F-A07F-4480-30CE-965477EB9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98">
              <a:extLst>
                <a:ext uri="{FF2B5EF4-FFF2-40B4-BE49-F238E27FC236}">
                  <a16:creationId xmlns:a16="http://schemas.microsoft.com/office/drawing/2014/main" id="{2B59B02A-0A5E-519C-CCAF-307EE1007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F4868FE-D07C-92FF-B12D-F643C45321BC}"/>
              </a:ext>
            </a:extLst>
          </p:cNvPr>
          <p:cNvGrpSpPr/>
          <p:nvPr/>
        </p:nvGrpSpPr>
        <p:grpSpPr>
          <a:xfrm rot="1904967">
            <a:off x="5511414" y="3117226"/>
            <a:ext cx="1230105" cy="1270658"/>
            <a:chOff x="4792338" y="2777473"/>
            <a:chExt cx="737681" cy="762000"/>
          </a:xfrm>
          <a:solidFill>
            <a:schemeClr val="tx1"/>
          </a:solidFill>
        </p:grpSpPr>
        <p:sp>
          <p:nvSpPr>
            <p:cNvPr id="16" name="Freeform 33">
              <a:extLst>
                <a:ext uri="{FF2B5EF4-FFF2-40B4-BE49-F238E27FC236}">
                  <a16:creationId xmlns:a16="http://schemas.microsoft.com/office/drawing/2014/main" id="{F2E247EB-A0FB-9AD4-7F49-3901E6D3B3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1785" y="2917984"/>
              <a:ext cx="678234" cy="621489"/>
            </a:xfrm>
            <a:custGeom>
              <a:avLst/>
              <a:gdLst>
                <a:gd name="T0" fmla="*/ 1289 w 2362"/>
                <a:gd name="T1" fmla="*/ 905 h 2158"/>
                <a:gd name="T2" fmla="*/ 2271 w 2362"/>
                <a:gd name="T3" fmla="*/ 1025 h 2158"/>
                <a:gd name="T4" fmla="*/ 2183 w 2362"/>
                <a:gd name="T5" fmla="*/ 827 h 2158"/>
                <a:gd name="T6" fmla="*/ 1734 w 2362"/>
                <a:gd name="T7" fmla="*/ 122 h 2158"/>
                <a:gd name="T8" fmla="*/ 1289 w 2362"/>
                <a:gd name="T9" fmla="*/ 905 h 2158"/>
                <a:gd name="T10" fmla="*/ 757 w 2362"/>
                <a:gd name="T11" fmla="*/ 2158 h 2158"/>
                <a:gd name="T12" fmla="*/ 664 w 2362"/>
                <a:gd name="T13" fmla="*/ 2139 h 2158"/>
                <a:gd name="T14" fmla="*/ 492 w 2362"/>
                <a:gd name="T15" fmla="*/ 1978 h 2158"/>
                <a:gd name="T16" fmla="*/ 11 w 2362"/>
                <a:gd name="T17" fmla="*/ 1180 h 2158"/>
                <a:gd name="T18" fmla="*/ 26 w 2362"/>
                <a:gd name="T19" fmla="*/ 1123 h 2158"/>
                <a:gd name="T20" fmla="*/ 83 w 2362"/>
                <a:gd name="T21" fmla="*/ 1137 h 2158"/>
                <a:gd name="T22" fmla="*/ 564 w 2362"/>
                <a:gd name="T23" fmla="*/ 1935 h 2158"/>
                <a:gd name="T24" fmla="*/ 696 w 2362"/>
                <a:gd name="T25" fmla="*/ 2063 h 2158"/>
                <a:gd name="T26" fmla="*/ 854 w 2362"/>
                <a:gd name="T27" fmla="*/ 2045 h 2158"/>
                <a:gd name="T28" fmla="*/ 1314 w 2362"/>
                <a:gd name="T29" fmla="*/ 1757 h 2158"/>
                <a:gd name="T30" fmla="*/ 2155 w 2362"/>
                <a:gd name="T31" fmla="*/ 1231 h 2158"/>
                <a:gd name="T32" fmla="*/ 2266 w 2362"/>
                <a:gd name="T33" fmla="*/ 1108 h 2158"/>
                <a:gd name="T34" fmla="*/ 1217 w 2362"/>
                <a:gd name="T35" fmla="*/ 980 h 2158"/>
                <a:gd name="T36" fmla="*/ 1185 w 2362"/>
                <a:gd name="T37" fmla="*/ 958 h 2158"/>
                <a:gd name="T38" fmla="*/ 1186 w 2362"/>
                <a:gd name="T39" fmla="*/ 918 h 2158"/>
                <a:gd name="T40" fmla="*/ 1696 w 2362"/>
                <a:gd name="T41" fmla="*/ 21 h 2158"/>
                <a:gd name="T42" fmla="*/ 1731 w 2362"/>
                <a:gd name="T43" fmla="*/ 0 h 2158"/>
                <a:gd name="T44" fmla="*/ 1767 w 2362"/>
                <a:gd name="T45" fmla="*/ 19 h 2158"/>
                <a:gd name="T46" fmla="*/ 2254 w 2362"/>
                <a:gd name="T47" fmla="*/ 784 h 2158"/>
                <a:gd name="T48" fmla="*/ 2357 w 2362"/>
                <a:gd name="T49" fmla="*/ 1046 h 2158"/>
                <a:gd name="T50" fmla="*/ 2198 w 2362"/>
                <a:gd name="T51" fmla="*/ 1302 h 2158"/>
                <a:gd name="T52" fmla="*/ 1358 w 2362"/>
                <a:gd name="T53" fmla="*/ 1827 h 2158"/>
                <a:gd name="T54" fmla="*/ 897 w 2362"/>
                <a:gd name="T55" fmla="*/ 2116 h 2158"/>
                <a:gd name="T56" fmla="*/ 757 w 2362"/>
                <a:gd name="T57" fmla="*/ 2158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62" h="2158">
                  <a:moveTo>
                    <a:pt x="1289" y="905"/>
                  </a:moveTo>
                  <a:lnTo>
                    <a:pt x="2271" y="1025"/>
                  </a:lnTo>
                  <a:cubicBezTo>
                    <a:pt x="2260" y="961"/>
                    <a:pt x="2223" y="892"/>
                    <a:pt x="2183" y="827"/>
                  </a:cubicBezTo>
                  <a:cubicBezTo>
                    <a:pt x="2131" y="741"/>
                    <a:pt x="1839" y="285"/>
                    <a:pt x="1734" y="122"/>
                  </a:cubicBezTo>
                  <a:lnTo>
                    <a:pt x="1289" y="905"/>
                  </a:lnTo>
                  <a:close/>
                  <a:moveTo>
                    <a:pt x="757" y="2158"/>
                  </a:moveTo>
                  <a:cubicBezTo>
                    <a:pt x="725" y="2158"/>
                    <a:pt x="694" y="2152"/>
                    <a:pt x="664" y="2139"/>
                  </a:cubicBezTo>
                  <a:cubicBezTo>
                    <a:pt x="599" y="2112"/>
                    <a:pt x="540" y="2056"/>
                    <a:pt x="492" y="1978"/>
                  </a:cubicBezTo>
                  <a:lnTo>
                    <a:pt x="11" y="1180"/>
                  </a:lnTo>
                  <a:cubicBezTo>
                    <a:pt x="0" y="1160"/>
                    <a:pt x="6" y="1135"/>
                    <a:pt x="26" y="1123"/>
                  </a:cubicBezTo>
                  <a:cubicBezTo>
                    <a:pt x="45" y="1111"/>
                    <a:pt x="71" y="1118"/>
                    <a:pt x="83" y="1137"/>
                  </a:cubicBezTo>
                  <a:lnTo>
                    <a:pt x="564" y="1935"/>
                  </a:lnTo>
                  <a:cubicBezTo>
                    <a:pt x="602" y="1998"/>
                    <a:pt x="648" y="2043"/>
                    <a:pt x="696" y="2063"/>
                  </a:cubicBezTo>
                  <a:cubicBezTo>
                    <a:pt x="747" y="2084"/>
                    <a:pt x="800" y="2078"/>
                    <a:pt x="854" y="2045"/>
                  </a:cubicBezTo>
                  <a:cubicBezTo>
                    <a:pt x="882" y="2029"/>
                    <a:pt x="1082" y="1903"/>
                    <a:pt x="1314" y="1757"/>
                  </a:cubicBezTo>
                  <a:cubicBezTo>
                    <a:pt x="1651" y="1545"/>
                    <a:pt x="2071" y="1281"/>
                    <a:pt x="2155" y="1231"/>
                  </a:cubicBezTo>
                  <a:cubicBezTo>
                    <a:pt x="2225" y="1188"/>
                    <a:pt x="2255" y="1146"/>
                    <a:pt x="2266" y="1108"/>
                  </a:cubicBezTo>
                  <a:lnTo>
                    <a:pt x="1217" y="980"/>
                  </a:lnTo>
                  <a:cubicBezTo>
                    <a:pt x="1203" y="979"/>
                    <a:pt x="1191" y="970"/>
                    <a:pt x="1185" y="958"/>
                  </a:cubicBezTo>
                  <a:cubicBezTo>
                    <a:pt x="1178" y="945"/>
                    <a:pt x="1179" y="931"/>
                    <a:pt x="1186" y="918"/>
                  </a:cubicBezTo>
                  <a:lnTo>
                    <a:pt x="1696" y="21"/>
                  </a:lnTo>
                  <a:cubicBezTo>
                    <a:pt x="1703" y="8"/>
                    <a:pt x="1717" y="0"/>
                    <a:pt x="1731" y="0"/>
                  </a:cubicBezTo>
                  <a:cubicBezTo>
                    <a:pt x="1746" y="0"/>
                    <a:pt x="1760" y="7"/>
                    <a:pt x="1767" y="19"/>
                  </a:cubicBezTo>
                  <a:cubicBezTo>
                    <a:pt x="1785" y="46"/>
                    <a:pt x="2190" y="678"/>
                    <a:pt x="2254" y="784"/>
                  </a:cubicBezTo>
                  <a:cubicBezTo>
                    <a:pt x="2305" y="867"/>
                    <a:pt x="2352" y="957"/>
                    <a:pt x="2357" y="1046"/>
                  </a:cubicBezTo>
                  <a:cubicBezTo>
                    <a:pt x="2362" y="1149"/>
                    <a:pt x="2308" y="1235"/>
                    <a:pt x="2198" y="1302"/>
                  </a:cubicBezTo>
                  <a:cubicBezTo>
                    <a:pt x="2114" y="1352"/>
                    <a:pt x="1695" y="1616"/>
                    <a:pt x="1358" y="1827"/>
                  </a:cubicBezTo>
                  <a:cubicBezTo>
                    <a:pt x="1126" y="1973"/>
                    <a:pt x="925" y="2100"/>
                    <a:pt x="897" y="2116"/>
                  </a:cubicBezTo>
                  <a:cubicBezTo>
                    <a:pt x="851" y="2144"/>
                    <a:pt x="803" y="2158"/>
                    <a:pt x="757" y="2158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34">
              <a:extLst>
                <a:ext uri="{FF2B5EF4-FFF2-40B4-BE49-F238E27FC236}">
                  <a16:creationId xmlns:a16="http://schemas.microsoft.com/office/drawing/2014/main" id="{CC8A7906-D47F-DB98-9CD6-1D7F6F895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4486" y="2907175"/>
              <a:ext cx="508000" cy="632298"/>
            </a:xfrm>
            <a:custGeom>
              <a:avLst/>
              <a:gdLst>
                <a:gd name="T0" fmla="*/ 713 w 1768"/>
                <a:gd name="T1" fmla="*/ 2194 h 2194"/>
                <a:gd name="T2" fmla="*/ 697 w 1768"/>
                <a:gd name="T3" fmla="*/ 2190 h 2194"/>
                <a:gd name="T4" fmla="*/ 675 w 1768"/>
                <a:gd name="T5" fmla="*/ 2136 h 2194"/>
                <a:gd name="T6" fmla="*/ 976 w 1768"/>
                <a:gd name="T7" fmla="*/ 1123 h 2194"/>
                <a:gd name="T8" fmla="*/ 47 w 1768"/>
                <a:gd name="T9" fmla="*/ 1196 h 2194"/>
                <a:gd name="T10" fmla="*/ 10 w 1768"/>
                <a:gd name="T11" fmla="*/ 1179 h 2194"/>
                <a:gd name="T12" fmla="*/ 5 w 1768"/>
                <a:gd name="T13" fmla="*/ 1139 h 2194"/>
                <a:gd name="T14" fmla="*/ 373 w 1768"/>
                <a:gd name="T15" fmla="*/ 168 h 2194"/>
                <a:gd name="T16" fmla="*/ 644 w 1768"/>
                <a:gd name="T17" fmla="*/ 7 h 2194"/>
                <a:gd name="T18" fmla="*/ 1727 w 1768"/>
                <a:gd name="T19" fmla="*/ 39 h 2194"/>
                <a:gd name="T20" fmla="*/ 1767 w 1768"/>
                <a:gd name="T21" fmla="*/ 82 h 2194"/>
                <a:gd name="T22" fmla="*/ 1724 w 1768"/>
                <a:gd name="T23" fmla="*/ 123 h 2194"/>
                <a:gd name="T24" fmla="*/ 640 w 1768"/>
                <a:gd name="T25" fmla="*/ 90 h 2194"/>
                <a:gd name="T26" fmla="*/ 452 w 1768"/>
                <a:gd name="T27" fmla="*/ 197 h 2194"/>
                <a:gd name="T28" fmla="*/ 106 w 1768"/>
                <a:gd name="T29" fmla="*/ 1108 h 2194"/>
                <a:gd name="T30" fmla="*/ 1029 w 1768"/>
                <a:gd name="T31" fmla="*/ 1035 h 2194"/>
                <a:gd name="T32" fmla="*/ 1065 w 1768"/>
                <a:gd name="T33" fmla="*/ 1050 h 2194"/>
                <a:gd name="T34" fmla="*/ 1073 w 1768"/>
                <a:gd name="T35" fmla="*/ 1088 h 2194"/>
                <a:gd name="T36" fmla="*/ 751 w 1768"/>
                <a:gd name="T37" fmla="*/ 2168 h 2194"/>
                <a:gd name="T38" fmla="*/ 713 w 1768"/>
                <a:gd name="T39" fmla="*/ 2194 h 2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68" h="2194">
                  <a:moveTo>
                    <a:pt x="713" y="2194"/>
                  </a:moveTo>
                  <a:cubicBezTo>
                    <a:pt x="708" y="2194"/>
                    <a:pt x="702" y="2193"/>
                    <a:pt x="697" y="2190"/>
                  </a:cubicBezTo>
                  <a:cubicBezTo>
                    <a:pt x="676" y="2181"/>
                    <a:pt x="666" y="2157"/>
                    <a:pt x="675" y="2136"/>
                  </a:cubicBezTo>
                  <a:cubicBezTo>
                    <a:pt x="730" y="2003"/>
                    <a:pt x="920" y="1326"/>
                    <a:pt x="976" y="1123"/>
                  </a:cubicBezTo>
                  <a:lnTo>
                    <a:pt x="47" y="1196"/>
                  </a:lnTo>
                  <a:cubicBezTo>
                    <a:pt x="33" y="1197"/>
                    <a:pt x="19" y="1191"/>
                    <a:pt x="10" y="1179"/>
                  </a:cubicBezTo>
                  <a:cubicBezTo>
                    <a:pt x="2" y="1168"/>
                    <a:pt x="0" y="1153"/>
                    <a:pt x="5" y="1139"/>
                  </a:cubicBezTo>
                  <a:cubicBezTo>
                    <a:pt x="8" y="1130"/>
                    <a:pt x="356" y="216"/>
                    <a:pt x="373" y="168"/>
                  </a:cubicBezTo>
                  <a:cubicBezTo>
                    <a:pt x="413" y="60"/>
                    <a:pt x="514" y="0"/>
                    <a:pt x="644" y="7"/>
                  </a:cubicBezTo>
                  <a:cubicBezTo>
                    <a:pt x="736" y="12"/>
                    <a:pt x="1717" y="39"/>
                    <a:pt x="1727" y="39"/>
                  </a:cubicBezTo>
                  <a:cubicBezTo>
                    <a:pt x="1750" y="40"/>
                    <a:pt x="1768" y="59"/>
                    <a:pt x="1767" y="82"/>
                  </a:cubicBezTo>
                  <a:cubicBezTo>
                    <a:pt x="1767" y="105"/>
                    <a:pt x="1748" y="123"/>
                    <a:pt x="1724" y="123"/>
                  </a:cubicBezTo>
                  <a:cubicBezTo>
                    <a:pt x="1684" y="122"/>
                    <a:pt x="733" y="95"/>
                    <a:pt x="640" y="90"/>
                  </a:cubicBezTo>
                  <a:cubicBezTo>
                    <a:pt x="596" y="88"/>
                    <a:pt x="490" y="93"/>
                    <a:pt x="452" y="197"/>
                  </a:cubicBezTo>
                  <a:cubicBezTo>
                    <a:pt x="436" y="238"/>
                    <a:pt x="185" y="899"/>
                    <a:pt x="106" y="1108"/>
                  </a:cubicBezTo>
                  <a:lnTo>
                    <a:pt x="1029" y="1035"/>
                  </a:lnTo>
                  <a:cubicBezTo>
                    <a:pt x="1043" y="1034"/>
                    <a:pt x="1056" y="1040"/>
                    <a:pt x="1065" y="1050"/>
                  </a:cubicBezTo>
                  <a:cubicBezTo>
                    <a:pt x="1073" y="1061"/>
                    <a:pt x="1076" y="1075"/>
                    <a:pt x="1073" y="1088"/>
                  </a:cubicBezTo>
                  <a:cubicBezTo>
                    <a:pt x="1062" y="1126"/>
                    <a:pt x="819" y="2007"/>
                    <a:pt x="751" y="2168"/>
                  </a:cubicBezTo>
                  <a:cubicBezTo>
                    <a:pt x="745" y="2184"/>
                    <a:pt x="729" y="2194"/>
                    <a:pt x="713" y="2194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35">
              <a:extLst>
                <a:ext uri="{FF2B5EF4-FFF2-40B4-BE49-F238E27FC236}">
                  <a16:creationId xmlns:a16="http://schemas.microsoft.com/office/drawing/2014/main" id="{7B94FB7D-C07E-E0CA-EB4A-932F135DC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7402" y="3174687"/>
              <a:ext cx="108085" cy="81064"/>
            </a:xfrm>
            <a:custGeom>
              <a:avLst/>
              <a:gdLst>
                <a:gd name="T0" fmla="*/ 48 w 371"/>
                <a:gd name="T1" fmla="*/ 285 h 285"/>
                <a:gd name="T2" fmla="*/ 29 w 371"/>
                <a:gd name="T3" fmla="*/ 281 h 285"/>
                <a:gd name="T4" fmla="*/ 11 w 371"/>
                <a:gd name="T5" fmla="*/ 225 h 285"/>
                <a:gd name="T6" fmla="*/ 41 w 371"/>
                <a:gd name="T7" fmla="*/ 161 h 285"/>
                <a:gd name="T8" fmla="*/ 330 w 371"/>
                <a:gd name="T9" fmla="*/ 12 h 285"/>
                <a:gd name="T10" fmla="*/ 369 w 371"/>
                <a:gd name="T11" fmla="*/ 57 h 285"/>
                <a:gd name="T12" fmla="*/ 325 w 371"/>
                <a:gd name="T13" fmla="*/ 95 h 285"/>
                <a:gd name="T14" fmla="*/ 117 w 371"/>
                <a:gd name="T15" fmla="*/ 196 h 285"/>
                <a:gd name="T16" fmla="*/ 85 w 371"/>
                <a:gd name="T17" fmla="*/ 262 h 285"/>
                <a:gd name="T18" fmla="*/ 48 w 371"/>
                <a:gd name="T19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1" h="285">
                  <a:moveTo>
                    <a:pt x="48" y="285"/>
                  </a:moveTo>
                  <a:cubicBezTo>
                    <a:pt x="42" y="285"/>
                    <a:pt x="35" y="284"/>
                    <a:pt x="29" y="281"/>
                  </a:cubicBezTo>
                  <a:cubicBezTo>
                    <a:pt x="9" y="271"/>
                    <a:pt x="0" y="246"/>
                    <a:pt x="11" y="225"/>
                  </a:cubicBezTo>
                  <a:cubicBezTo>
                    <a:pt x="22" y="201"/>
                    <a:pt x="32" y="180"/>
                    <a:pt x="41" y="161"/>
                  </a:cubicBezTo>
                  <a:cubicBezTo>
                    <a:pt x="104" y="23"/>
                    <a:pt x="131" y="0"/>
                    <a:pt x="330" y="12"/>
                  </a:cubicBezTo>
                  <a:cubicBezTo>
                    <a:pt x="353" y="14"/>
                    <a:pt x="371" y="34"/>
                    <a:pt x="369" y="57"/>
                  </a:cubicBezTo>
                  <a:cubicBezTo>
                    <a:pt x="368" y="80"/>
                    <a:pt x="349" y="97"/>
                    <a:pt x="325" y="95"/>
                  </a:cubicBezTo>
                  <a:cubicBezTo>
                    <a:pt x="167" y="86"/>
                    <a:pt x="167" y="86"/>
                    <a:pt x="117" y="196"/>
                  </a:cubicBezTo>
                  <a:cubicBezTo>
                    <a:pt x="108" y="215"/>
                    <a:pt x="98" y="237"/>
                    <a:pt x="85" y="262"/>
                  </a:cubicBezTo>
                  <a:cubicBezTo>
                    <a:pt x="78" y="277"/>
                    <a:pt x="63" y="285"/>
                    <a:pt x="48" y="285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36">
              <a:extLst>
                <a:ext uri="{FF2B5EF4-FFF2-40B4-BE49-F238E27FC236}">
                  <a16:creationId xmlns:a16="http://schemas.microsoft.com/office/drawing/2014/main" id="{3E79ACF6-BD12-24C3-F4B6-EF4446EA2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2849" y="2953112"/>
              <a:ext cx="329659" cy="254000"/>
            </a:xfrm>
            <a:custGeom>
              <a:avLst/>
              <a:gdLst>
                <a:gd name="T0" fmla="*/ 178 w 1142"/>
                <a:gd name="T1" fmla="*/ 882 h 882"/>
                <a:gd name="T2" fmla="*/ 143 w 1142"/>
                <a:gd name="T3" fmla="*/ 863 h 882"/>
                <a:gd name="T4" fmla="*/ 12 w 1142"/>
                <a:gd name="T5" fmla="*/ 661 h 882"/>
                <a:gd name="T6" fmla="*/ 24 w 1142"/>
                <a:gd name="T7" fmla="*/ 603 h 882"/>
                <a:gd name="T8" fmla="*/ 920 w 1142"/>
                <a:gd name="T9" fmla="*/ 9 h 882"/>
                <a:gd name="T10" fmla="*/ 953 w 1142"/>
                <a:gd name="T11" fmla="*/ 3 h 882"/>
                <a:gd name="T12" fmla="*/ 979 w 1142"/>
                <a:gd name="T13" fmla="*/ 23 h 882"/>
                <a:gd name="T14" fmla="*/ 1131 w 1142"/>
                <a:gd name="T15" fmla="*/ 290 h 882"/>
                <a:gd name="T16" fmla="*/ 1115 w 1142"/>
                <a:gd name="T17" fmla="*/ 346 h 882"/>
                <a:gd name="T18" fmla="*/ 1059 w 1142"/>
                <a:gd name="T19" fmla="*/ 331 h 882"/>
                <a:gd name="T20" fmla="*/ 929 w 1142"/>
                <a:gd name="T21" fmla="*/ 103 h 882"/>
                <a:gd name="T22" fmla="*/ 104 w 1142"/>
                <a:gd name="T23" fmla="*/ 650 h 882"/>
                <a:gd name="T24" fmla="*/ 213 w 1142"/>
                <a:gd name="T25" fmla="*/ 817 h 882"/>
                <a:gd name="T26" fmla="*/ 200 w 1142"/>
                <a:gd name="T27" fmla="*/ 875 h 882"/>
                <a:gd name="T28" fmla="*/ 178 w 1142"/>
                <a:gd name="T29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2" h="882">
                  <a:moveTo>
                    <a:pt x="178" y="882"/>
                  </a:moveTo>
                  <a:cubicBezTo>
                    <a:pt x="164" y="882"/>
                    <a:pt x="151" y="875"/>
                    <a:pt x="143" y="863"/>
                  </a:cubicBezTo>
                  <a:lnTo>
                    <a:pt x="12" y="661"/>
                  </a:lnTo>
                  <a:cubicBezTo>
                    <a:pt x="0" y="641"/>
                    <a:pt x="5" y="616"/>
                    <a:pt x="24" y="603"/>
                  </a:cubicBezTo>
                  <a:lnTo>
                    <a:pt x="920" y="9"/>
                  </a:lnTo>
                  <a:cubicBezTo>
                    <a:pt x="930" y="3"/>
                    <a:pt x="942" y="0"/>
                    <a:pt x="953" y="3"/>
                  </a:cubicBezTo>
                  <a:cubicBezTo>
                    <a:pt x="964" y="6"/>
                    <a:pt x="974" y="13"/>
                    <a:pt x="979" y="23"/>
                  </a:cubicBezTo>
                  <a:lnTo>
                    <a:pt x="1131" y="290"/>
                  </a:lnTo>
                  <a:cubicBezTo>
                    <a:pt x="1142" y="309"/>
                    <a:pt x="1135" y="335"/>
                    <a:pt x="1115" y="346"/>
                  </a:cubicBezTo>
                  <a:cubicBezTo>
                    <a:pt x="1096" y="358"/>
                    <a:pt x="1070" y="351"/>
                    <a:pt x="1059" y="331"/>
                  </a:cubicBezTo>
                  <a:lnTo>
                    <a:pt x="929" y="103"/>
                  </a:lnTo>
                  <a:lnTo>
                    <a:pt x="104" y="650"/>
                  </a:lnTo>
                  <a:lnTo>
                    <a:pt x="213" y="817"/>
                  </a:lnTo>
                  <a:cubicBezTo>
                    <a:pt x="225" y="837"/>
                    <a:pt x="220" y="863"/>
                    <a:pt x="200" y="875"/>
                  </a:cubicBezTo>
                  <a:cubicBezTo>
                    <a:pt x="193" y="880"/>
                    <a:pt x="186" y="882"/>
                    <a:pt x="178" y="882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37">
              <a:extLst>
                <a:ext uri="{FF2B5EF4-FFF2-40B4-BE49-F238E27FC236}">
                  <a16:creationId xmlns:a16="http://schemas.microsoft.com/office/drawing/2014/main" id="{7FE7CEBF-1018-3DEB-04ED-169B4F5A4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9359" y="2912579"/>
              <a:ext cx="97277" cy="64851"/>
            </a:xfrm>
            <a:custGeom>
              <a:avLst/>
              <a:gdLst>
                <a:gd name="T0" fmla="*/ 292 w 339"/>
                <a:gd name="T1" fmla="*/ 221 h 221"/>
                <a:gd name="T2" fmla="*/ 278 w 339"/>
                <a:gd name="T3" fmla="*/ 218 h 221"/>
                <a:gd name="T4" fmla="*/ 104 w 339"/>
                <a:gd name="T5" fmla="*/ 128 h 221"/>
                <a:gd name="T6" fmla="*/ 28 w 339"/>
                <a:gd name="T7" fmla="*/ 85 h 221"/>
                <a:gd name="T8" fmla="*/ 10 w 339"/>
                <a:gd name="T9" fmla="*/ 29 h 221"/>
                <a:gd name="T10" fmla="*/ 66 w 339"/>
                <a:gd name="T11" fmla="*/ 11 h 221"/>
                <a:gd name="T12" fmla="*/ 146 w 339"/>
                <a:gd name="T13" fmla="*/ 55 h 221"/>
                <a:gd name="T14" fmla="*/ 306 w 339"/>
                <a:gd name="T15" fmla="*/ 140 h 221"/>
                <a:gd name="T16" fmla="*/ 331 w 339"/>
                <a:gd name="T17" fmla="*/ 193 h 221"/>
                <a:gd name="T18" fmla="*/ 292 w 339"/>
                <a:gd name="T1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9" h="221">
                  <a:moveTo>
                    <a:pt x="292" y="221"/>
                  </a:moveTo>
                  <a:cubicBezTo>
                    <a:pt x="287" y="221"/>
                    <a:pt x="282" y="220"/>
                    <a:pt x="278" y="218"/>
                  </a:cubicBezTo>
                  <a:cubicBezTo>
                    <a:pt x="237" y="204"/>
                    <a:pt x="167" y="163"/>
                    <a:pt x="104" y="128"/>
                  </a:cubicBezTo>
                  <a:cubicBezTo>
                    <a:pt x="74" y="110"/>
                    <a:pt x="45" y="94"/>
                    <a:pt x="28" y="85"/>
                  </a:cubicBezTo>
                  <a:cubicBezTo>
                    <a:pt x="8" y="75"/>
                    <a:pt x="0" y="50"/>
                    <a:pt x="10" y="29"/>
                  </a:cubicBezTo>
                  <a:cubicBezTo>
                    <a:pt x="20" y="9"/>
                    <a:pt x="46" y="0"/>
                    <a:pt x="66" y="11"/>
                  </a:cubicBezTo>
                  <a:cubicBezTo>
                    <a:pt x="85" y="20"/>
                    <a:pt x="113" y="37"/>
                    <a:pt x="146" y="55"/>
                  </a:cubicBezTo>
                  <a:cubicBezTo>
                    <a:pt x="202" y="88"/>
                    <a:pt x="272" y="128"/>
                    <a:pt x="306" y="140"/>
                  </a:cubicBezTo>
                  <a:cubicBezTo>
                    <a:pt x="328" y="148"/>
                    <a:pt x="339" y="172"/>
                    <a:pt x="331" y="193"/>
                  </a:cubicBezTo>
                  <a:cubicBezTo>
                    <a:pt x="325" y="210"/>
                    <a:pt x="309" y="221"/>
                    <a:pt x="292" y="221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38">
              <a:extLst>
                <a:ext uri="{FF2B5EF4-FFF2-40B4-BE49-F238E27FC236}">
                  <a16:creationId xmlns:a16="http://schemas.microsoft.com/office/drawing/2014/main" id="{642246BD-14D5-80A5-0835-D10EAD20F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6912" y="2815303"/>
              <a:ext cx="78362" cy="89171"/>
            </a:xfrm>
            <a:custGeom>
              <a:avLst/>
              <a:gdLst>
                <a:gd name="T0" fmla="*/ 227 w 274"/>
                <a:gd name="T1" fmla="*/ 315 h 315"/>
                <a:gd name="T2" fmla="*/ 195 w 274"/>
                <a:gd name="T3" fmla="*/ 299 h 315"/>
                <a:gd name="T4" fmla="*/ 15 w 274"/>
                <a:gd name="T5" fmla="*/ 73 h 315"/>
                <a:gd name="T6" fmla="*/ 22 w 274"/>
                <a:gd name="T7" fmla="*/ 14 h 315"/>
                <a:gd name="T8" fmla="*/ 80 w 274"/>
                <a:gd name="T9" fmla="*/ 21 h 315"/>
                <a:gd name="T10" fmla="*/ 260 w 274"/>
                <a:gd name="T11" fmla="*/ 247 h 315"/>
                <a:gd name="T12" fmla="*/ 253 w 274"/>
                <a:gd name="T13" fmla="*/ 306 h 315"/>
                <a:gd name="T14" fmla="*/ 227 w 274"/>
                <a:gd name="T15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4" h="315">
                  <a:moveTo>
                    <a:pt x="227" y="315"/>
                  </a:moveTo>
                  <a:cubicBezTo>
                    <a:pt x="215" y="315"/>
                    <a:pt x="203" y="310"/>
                    <a:pt x="195" y="299"/>
                  </a:cubicBezTo>
                  <a:lnTo>
                    <a:pt x="15" y="73"/>
                  </a:lnTo>
                  <a:cubicBezTo>
                    <a:pt x="0" y="55"/>
                    <a:pt x="3" y="29"/>
                    <a:pt x="22" y="14"/>
                  </a:cubicBezTo>
                  <a:cubicBezTo>
                    <a:pt x="40" y="0"/>
                    <a:pt x="66" y="3"/>
                    <a:pt x="80" y="21"/>
                  </a:cubicBezTo>
                  <a:lnTo>
                    <a:pt x="260" y="247"/>
                  </a:lnTo>
                  <a:cubicBezTo>
                    <a:pt x="274" y="265"/>
                    <a:pt x="271" y="292"/>
                    <a:pt x="253" y="306"/>
                  </a:cubicBezTo>
                  <a:cubicBezTo>
                    <a:pt x="245" y="312"/>
                    <a:pt x="236" y="315"/>
                    <a:pt x="227" y="315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39">
              <a:extLst>
                <a:ext uri="{FF2B5EF4-FFF2-40B4-BE49-F238E27FC236}">
                  <a16:creationId xmlns:a16="http://schemas.microsoft.com/office/drawing/2014/main" id="{84305168-4520-C689-481B-272FF1632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104" y="2777473"/>
              <a:ext cx="35128" cy="86468"/>
            </a:xfrm>
            <a:custGeom>
              <a:avLst/>
              <a:gdLst>
                <a:gd name="T0" fmla="*/ 78 w 123"/>
                <a:gd name="T1" fmla="*/ 302 h 302"/>
                <a:gd name="T2" fmla="*/ 37 w 123"/>
                <a:gd name="T3" fmla="*/ 267 h 302"/>
                <a:gd name="T4" fmla="*/ 4 w 123"/>
                <a:gd name="T5" fmla="*/ 51 h 302"/>
                <a:gd name="T6" fmla="*/ 38 w 123"/>
                <a:gd name="T7" fmla="*/ 4 h 302"/>
                <a:gd name="T8" fmla="*/ 86 w 123"/>
                <a:gd name="T9" fmla="*/ 39 h 302"/>
                <a:gd name="T10" fmla="*/ 120 w 123"/>
                <a:gd name="T11" fmla="*/ 254 h 302"/>
                <a:gd name="T12" fmla="*/ 85 w 123"/>
                <a:gd name="T13" fmla="*/ 301 h 302"/>
                <a:gd name="T14" fmla="*/ 78 w 123"/>
                <a:gd name="T15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3" h="302">
                  <a:moveTo>
                    <a:pt x="78" y="302"/>
                  </a:moveTo>
                  <a:cubicBezTo>
                    <a:pt x="58" y="302"/>
                    <a:pt x="40" y="287"/>
                    <a:pt x="37" y="267"/>
                  </a:cubicBezTo>
                  <a:lnTo>
                    <a:pt x="4" y="51"/>
                  </a:lnTo>
                  <a:cubicBezTo>
                    <a:pt x="0" y="29"/>
                    <a:pt x="16" y="7"/>
                    <a:pt x="38" y="4"/>
                  </a:cubicBezTo>
                  <a:cubicBezTo>
                    <a:pt x="61" y="0"/>
                    <a:pt x="82" y="16"/>
                    <a:pt x="86" y="39"/>
                  </a:cubicBezTo>
                  <a:lnTo>
                    <a:pt x="120" y="254"/>
                  </a:lnTo>
                  <a:cubicBezTo>
                    <a:pt x="123" y="276"/>
                    <a:pt x="108" y="298"/>
                    <a:pt x="85" y="301"/>
                  </a:cubicBezTo>
                  <a:cubicBezTo>
                    <a:pt x="83" y="302"/>
                    <a:pt x="80" y="302"/>
                    <a:pt x="78" y="302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40">
              <a:extLst>
                <a:ext uri="{FF2B5EF4-FFF2-40B4-BE49-F238E27FC236}">
                  <a16:creationId xmlns:a16="http://schemas.microsoft.com/office/drawing/2014/main" id="{DEBA5BB4-2EBB-F157-45AC-82E3E8EFC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7677" y="2777473"/>
              <a:ext cx="35128" cy="78363"/>
            </a:xfrm>
            <a:custGeom>
              <a:avLst/>
              <a:gdLst>
                <a:gd name="T0" fmla="*/ 45 w 119"/>
                <a:gd name="T1" fmla="*/ 269 h 269"/>
                <a:gd name="T2" fmla="*/ 39 w 119"/>
                <a:gd name="T3" fmla="*/ 268 h 269"/>
                <a:gd name="T4" fmla="*/ 4 w 119"/>
                <a:gd name="T5" fmla="*/ 221 h 269"/>
                <a:gd name="T6" fmla="*/ 33 w 119"/>
                <a:gd name="T7" fmla="*/ 39 h 269"/>
                <a:gd name="T8" fmla="*/ 80 w 119"/>
                <a:gd name="T9" fmla="*/ 4 h 269"/>
                <a:gd name="T10" fmla="*/ 115 w 119"/>
                <a:gd name="T11" fmla="*/ 52 h 269"/>
                <a:gd name="T12" fmla="*/ 86 w 119"/>
                <a:gd name="T13" fmla="*/ 234 h 269"/>
                <a:gd name="T14" fmla="*/ 45 w 119"/>
                <a:gd name="T1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269">
                  <a:moveTo>
                    <a:pt x="45" y="269"/>
                  </a:moveTo>
                  <a:cubicBezTo>
                    <a:pt x="43" y="269"/>
                    <a:pt x="41" y="269"/>
                    <a:pt x="39" y="268"/>
                  </a:cubicBezTo>
                  <a:cubicBezTo>
                    <a:pt x="16" y="265"/>
                    <a:pt x="0" y="243"/>
                    <a:pt x="4" y="221"/>
                  </a:cubicBezTo>
                  <a:lnTo>
                    <a:pt x="33" y="39"/>
                  </a:lnTo>
                  <a:cubicBezTo>
                    <a:pt x="36" y="16"/>
                    <a:pt x="58" y="0"/>
                    <a:pt x="80" y="4"/>
                  </a:cubicBezTo>
                  <a:cubicBezTo>
                    <a:pt x="103" y="8"/>
                    <a:pt x="119" y="29"/>
                    <a:pt x="115" y="52"/>
                  </a:cubicBezTo>
                  <a:lnTo>
                    <a:pt x="86" y="234"/>
                  </a:lnTo>
                  <a:cubicBezTo>
                    <a:pt x="83" y="254"/>
                    <a:pt x="65" y="269"/>
                    <a:pt x="45" y="269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814">
              <a:extLst>
                <a:ext uri="{FF2B5EF4-FFF2-40B4-BE49-F238E27FC236}">
                  <a16:creationId xmlns:a16="http://schemas.microsoft.com/office/drawing/2014/main" id="{55459974-4645-B6DF-85BD-5D7BA8426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2338" y="3026069"/>
              <a:ext cx="83767" cy="37830"/>
            </a:xfrm>
            <a:custGeom>
              <a:avLst/>
              <a:gdLst>
                <a:gd name="T0" fmla="*/ 243 w 297"/>
                <a:gd name="T1" fmla="*/ 134 h 134"/>
                <a:gd name="T2" fmla="*/ 235 w 297"/>
                <a:gd name="T3" fmla="*/ 134 h 134"/>
                <a:gd name="T4" fmla="*/ 46 w 297"/>
                <a:gd name="T5" fmla="*/ 103 h 134"/>
                <a:gd name="T6" fmla="*/ 4 w 297"/>
                <a:gd name="T7" fmla="*/ 46 h 134"/>
                <a:gd name="T8" fmla="*/ 62 w 297"/>
                <a:gd name="T9" fmla="*/ 4 h 134"/>
                <a:gd name="T10" fmla="*/ 251 w 297"/>
                <a:gd name="T11" fmla="*/ 35 h 134"/>
                <a:gd name="T12" fmla="*/ 292 w 297"/>
                <a:gd name="T13" fmla="*/ 92 h 134"/>
                <a:gd name="T14" fmla="*/ 243 w 297"/>
                <a:gd name="T15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7" h="134">
                  <a:moveTo>
                    <a:pt x="243" y="134"/>
                  </a:moveTo>
                  <a:cubicBezTo>
                    <a:pt x="240" y="134"/>
                    <a:pt x="238" y="134"/>
                    <a:pt x="235" y="134"/>
                  </a:cubicBezTo>
                  <a:lnTo>
                    <a:pt x="46" y="103"/>
                  </a:lnTo>
                  <a:cubicBezTo>
                    <a:pt x="18" y="99"/>
                    <a:pt x="0" y="73"/>
                    <a:pt x="4" y="46"/>
                  </a:cubicBezTo>
                  <a:cubicBezTo>
                    <a:pt x="9" y="18"/>
                    <a:pt x="34" y="0"/>
                    <a:pt x="62" y="4"/>
                  </a:cubicBezTo>
                  <a:lnTo>
                    <a:pt x="251" y="35"/>
                  </a:lnTo>
                  <a:cubicBezTo>
                    <a:pt x="278" y="39"/>
                    <a:pt x="297" y="65"/>
                    <a:pt x="292" y="92"/>
                  </a:cubicBezTo>
                  <a:cubicBezTo>
                    <a:pt x="288" y="117"/>
                    <a:pt x="267" y="134"/>
                    <a:pt x="243" y="13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815">
              <a:extLst>
                <a:ext uri="{FF2B5EF4-FFF2-40B4-BE49-F238E27FC236}">
                  <a16:creationId xmlns:a16="http://schemas.microsoft.com/office/drawing/2014/main" id="{9D0B6B45-EAAD-CE6F-BA6A-8A197C0DB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5231" y="2804494"/>
              <a:ext cx="51341" cy="72958"/>
            </a:xfrm>
            <a:custGeom>
              <a:avLst/>
              <a:gdLst>
                <a:gd name="T0" fmla="*/ 57 w 176"/>
                <a:gd name="T1" fmla="*/ 256 h 256"/>
                <a:gd name="T2" fmla="*/ 37 w 176"/>
                <a:gd name="T3" fmla="*/ 252 h 256"/>
                <a:gd name="T4" fmla="*/ 11 w 176"/>
                <a:gd name="T5" fmla="*/ 186 h 256"/>
                <a:gd name="T6" fmla="*/ 73 w 176"/>
                <a:gd name="T7" fmla="*/ 37 h 256"/>
                <a:gd name="T8" fmla="*/ 139 w 176"/>
                <a:gd name="T9" fmla="*/ 10 h 256"/>
                <a:gd name="T10" fmla="*/ 166 w 176"/>
                <a:gd name="T11" fmla="*/ 76 h 256"/>
                <a:gd name="T12" fmla="*/ 103 w 176"/>
                <a:gd name="T13" fmla="*/ 225 h 256"/>
                <a:gd name="T14" fmla="*/ 57 w 176"/>
                <a:gd name="T15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6" h="256">
                  <a:moveTo>
                    <a:pt x="57" y="256"/>
                  </a:moveTo>
                  <a:cubicBezTo>
                    <a:pt x="50" y="256"/>
                    <a:pt x="44" y="255"/>
                    <a:pt x="37" y="252"/>
                  </a:cubicBezTo>
                  <a:cubicBezTo>
                    <a:pt x="12" y="241"/>
                    <a:pt x="0" y="212"/>
                    <a:pt x="11" y="186"/>
                  </a:cubicBezTo>
                  <a:lnTo>
                    <a:pt x="73" y="37"/>
                  </a:lnTo>
                  <a:cubicBezTo>
                    <a:pt x="84" y="12"/>
                    <a:pt x="114" y="0"/>
                    <a:pt x="139" y="10"/>
                  </a:cubicBezTo>
                  <a:cubicBezTo>
                    <a:pt x="164" y="21"/>
                    <a:pt x="176" y="51"/>
                    <a:pt x="166" y="76"/>
                  </a:cubicBezTo>
                  <a:lnTo>
                    <a:pt x="103" y="225"/>
                  </a:lnTo>
                  <a:cubicBezTo>
                    <a:pt x="95" y="244"/>
                    <a:pt x="76" y="256"/>
                    <a:pt x="57" y="256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1868CC98-1927-D571-1EFE-EE14A5AC6834}"/>
              </a:ext>
            </a:extLst>
          </p:cNvPr>
          <p:cNvSpPr txBox="1"/>
          <p:nvPr/>
        </p:nvSpPr>
        <p:spPr>
          <a:xfrm>
            <a:off x="4803190" y="4371213"/>
            <a:ext cx="26039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Marketers say that mail provides the best ROI above other channel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83A07A1-F1D3-13E1-F38A-0B0814C00181}"/>
              </a:ext>
            </a:extLst>
          </p:cNvPr>
          <p:cNvSpPr txBox="1"/>
          <p:nvPr/>
        </p:nvSpPr>
        <p:spPr>
          <a:xfrm>
            <a:off x="6002660" y="2202728"/>
            <a:ext cx="148790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0" b="1" dirty="0">
                <a:solidFill>
                  <a:schemeClr val="accent1"/>
                </a:solidFill>
                <a:latin typeface="+mj-lt"/>
              </a:rPr>
              <a:t>67</a:t>
            </a:r>
            <a:r>
              <a:rPr lang="en-GB" sz="4000" b="1" dirty="0">
                <a:latin typeface="+mj-lt"/>
              </a:rPr>
              <a:t>%</a:t>
            </a:r>
            <a:endParaRPr lang="en-GB" sz="6000" b="1" dirty="0">
              <a:latin typeface="+mj-lt"/>
            </a:endParaRPr>
          </a:p>
        </p:txBody>
      </p:sp>
      <p:grpSp>
        <p:nvGrpSpPr>
          <p:cNvPr id="28" name="Hand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AA7040E-5D1B-374F-9172-5B83E2FB6A25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8639379" y="3225325"/>
            <a:ext cx="1671181" cy="1056397"/>
            <a:chOff x="5035551" y="327026"/>
            <a:chExt cx="306388" cy="193676"/>
          </a:xfrm>
          <a:solidFill>
            <a:schemeClr val="tx1"/>
          </a:solidFill>
        </p:grpSpPr>
        <p:sp>
          <p:nvSpPr>
            <p:cNvPr id="29" name="Freeform 1522">
              <a:extLst>
                <a:ext uri="{FF2B5EF4-FFF2-40B4-BE49-F238E27FC236}">
                  <a16:creationId xmlns:a16="http://schemas.microsoft.com/office/drawing/2014/main" id="{3FAC0AF2-34DA-C1F9-9AC0-8D6ED6AE27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7938" y="342901"/>
              <a:ext cx="150813" cy="73025"/>
            </a:xfrm>
            <a:custGeom>
              <a:avLst/>
              <a:gdLst>
                <a:gd name="T0" fmla="*/ 12 w 247"/>
                <a:gd name="T1" fmla="*/ 119 h 119"/>
                <a:gd name="T2" fmla="*/ 0 w 247"/>
                <a:gd name="T3" fmla="*/ 107 h 119"/>
                <a:gd name="T4" fmla="*/ 86 w 247"/>
                <a:gd name="T5" fmla="*/ 22 h 119"/>
                <a:gd name="T6" fmla="*/ 133 w 247"/>
                <a:gd name="T7" fmla="*/ 1 h 119"/>
                <a:gd name="T8" fmla="*/ 204 w 247"/>
                <a:gd name="T9" fmla="*/ 0 h 119"/>
                <a:gd name="T10" fmla="*/ 235 w 247"/>
                <a:gd name="T11" fmla="*/ 12 h 119"/>
                <a:gd name="T12" fmla="*/ 247 w 247"/>
                <a:gd name="T13" fmla="*/ 42 h 119"/>
                <a:gd name="T14" fmla="*/ 206 w 247"/>
                <a:gd name="T15" fmla="*/ 84 h 119"/>
                <a:gd name="T16" fmla="*/ 155 w 247"/>
                <a:gd name="T17" fmla="*/ 85 h 119"/>
                <a:gd name="T18" fmla="*/ 155 w 247"/>
                <a:gd name="T19" fmla="*/ 68 h 119"/>
                <a:gd name="T20" fmla="*/ 206 w 247"/>
                <a:gd name="T21" fmla="*/ 67 h 119"/>
                <a:gd name="T22" fmla="*/ 230 w 247"/>
                <a:gd name="T23" fmla="*/ 42 h 119"/>
                <a:gd name="T24" fmla="*/ 223 w 247"/>
                <a:gd name="T25" fmla="*/ 24 h 119"/>
                <a:gd name="T26" fmla="*/ 205 w 247"/>
                <a:gd name="T27" fmla="*/ 17 h 119"/>
                <a:gd name="T28" fmla="*/ 134 w 247"/>
                <a:gd name="T29" fmla="*/ 18 h 119"/>
                <a:gd name="T30" fmla="*/ 97 w 247"/>
                <a:gd name="T31" fmla="*/ 33 h 119"/>
                <a:gd name="T32" fmla="*/ 12 w 247"/>
                <a:gd name="T33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7" h="119">
                  <a:moveTo>
                    <a:pt x="12" y="119"/>
                  </a:moveTo>
                  <a:lnTo>
                    <a:pt x="0" y="107"/>
                  </a:lnTo>
                  <a:lnTo>
                    <a:pt x="86" y="22"/>
                  </a:lnTo>
                  <a:cubicBezTo>
                    <a:pt x="98" y="9"/>
                    <a:pt x="115" y="2"/>
                    <a:pt x="133" y="1"/>
                  </a:cubicBezTo>
                  <a:lnTo>
                    <a:pt x="204" y="0"/>
                  </a:lnTo>
                  <a:cubicBezTo>
                    <a:pt x="216" y="0"/>
                    <a:pt x="226" y="4"/>
                    <a:pt x="235" y="12"/>
                  </a:cubicBezTo>
                  <a:cubicBezTo>
                    <a:pt x="243" y="20"/>
                    <a:pt x="247" y="31"/>
                    <a:pt x="247" y="42"/>
                  </a:cubicBezTo>
                  <a:cubicBezTo>
                    <a:pt x="247" y="65"/>
                    <a:pt x="229" y="84"/>
                    <a:pt x="206" y="84"/>
                  </a:cubicBezTo>
                  <a:lnTo>
                    <a:pt x="155" y="85"/>
                  </a:lnTo>
                  <a:lnTo>
                    <a:pt x="155" y="68"/>
                  </a:lnTo>
                  <a:lnTo>
                    <a:pt x="206" y="67"/>
                  </a:lnTo>
                  <a:cubicBezTo>
                    <a:pt x="219" y="67"/>
                    <a:pt x="230" y="56"/>
                    <a:pt x="230" y="42"/>
                  </a:cubicBezTo>
                  <a:cubicBezTo>
                    <a:pt x="230" y="35"/>
                    <a:pt x="228" y="29"/>
                    <a:pt x="223" y="24"/>
                  </a:cubicBezTo>
                  <a:cubicBezTo>
                    <a:pt x="218" y="19"/>
                    <a:pt x="212" y="16"/>
                    <a:pt x="205" y="17"/>
                  </a:cubicBezTo>
                  <a:lnTo>
                    <a:pt x="134" y="18"/>
                  </a:lnTo>
                  <a:cubicBezTo>
                    <a:pt x="120" y="18"/>
                    <a:pt x="107" y="24"/>
                    <a:pt x="97" y="33"/>
                  </a:cubicBezTo>
                  <a:lnTo>
                    <a:pt x="12" y="119"/>
                  </a:lnTo>
                </a:path>
              </a:pathLst>
            </a:custGeom>
            <a:grp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1523">
              <a:extLst>
                <a:ext uri="{FF2B5EF4-FFF2-40B4-BE49-F238E27FC236}">
                  <a16:creationId xmlns:a16="http://schemas.microsoft.com/office/drawing/2014/main" id="{94A9B764-E0B5-738C-CA26-DE807074C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0326" y="327026"/>
              <a:ext cx="201613" cy="141288"/>
            </a:xfrm>
            <a:custGeom>
              <a:avLst/>
              <a:gdLst>
                <a:gd name="T0" fmla="*/ 11 w 332"/>
                <a:gd name="T1" fmla="*/ 233 h 233"/>
                <a:gd name="T2" fmla="*/ 0 w 332"/>
                <a:gd name="T3" fmla="*/ 221 h 233"/>
                <a:gd name="T4" fmla="*/ 5 w 332"/>
                <a:gd name="T5" fmla="*/ 215 h 233"/>
                <a:gd name="T6" fmla="*/ 49 w 332"/>
                <a:gd name="T7" fmla="*/ 190 h 233"/>
                <a:gd name="T8" fmla="*/ 174 w 332"/>
                <a:gd name="T9" fmla="*/ 159 h 233"/>
                <a:gd name="T10" fmla="*/ 245 w 332"/>
                <a:gd name="T11" fmla="*/ 118 h 233"/>
                <a:gd name="T12" fmla="*/ 310 w 332"/>
                <a:gd name="T13" fmla="*/ 53 h 233"/>
                <a:gd name="T14" fmla="*/ 316 w 332"/>
                <a:gd name="T15" fmla="*/ 40 h 233"/>
                <a:gd name="T16" fmla="*/ 310 w 332"/>
                <a:gd name="T17" fmla="*/ 26 h 233"/>
                <a:gd name="T18" fmla="*/ 282 w 332"/>
                <a:gd name="T19" fmla="*/ 26 h 233"/>
                <a:gd name="T20" fmla="*/ 225 w 332"/>
                <a:gd name="T21" fmla="*/ 83 h 233"/>
                <a:gd name="T22" fmla="*/ 159 w 332"/>
                <a:gd name="T23" fmla="*/ 111 h 233"/>
                <a:gd name="T24" fmla="*/ 53 w 332"/>
                <a:gd name="T25" fmla="*/ 114 h 233"/>
                <a:gd name="T26" fmla="*/ 53 w 332"/>
                <a:gd name="T27" fmla="*/ 97 h 233"/>
                <a:gd name="T28" fmla="*/ 159 w 332"/>
                <a:gd name="T29" fmla="*/ 95 h 233"/>
                <a:gd name="T30" fmla="*/ 214 w 332"/>
                <a:gd name="T31" fmla="*/ 71 h 233"/>
                <a:gd name="T32" fmla="*/ 271 w 332"/>
                <a:gd name="T33" fmla="*/ 14 h 233"/>
                <a:gd name="T34" fmla="*/ 322 w 332"/>
                <a:gd name="T35" fmla="*/ 14 h 233"/>
                <a:gd name="T36" fmla="*/ 332 w 332"/>
                <a:gd name="T37" fmla="*/ 40 h 233"/>
                <a:gd name="T38" fmla="*/ 322 w 332"/>
                <a:gd name="T39" fmla="*/ 65 h 233"/>
                <a:gd name="T40" fmla="*/ 257 w 332"/>
                <a:gd name="T41" fmla="*/ 130 h 233"/>
                <a:gd name="T42" fmla="*/ 178 w 332"/>
                <a:gd name="T43" fmla="*/ 175 h 233"/>
                <a:gd name="T44" fmla="*/ 53 w 332"/>
                <a:gd name="T45" fmla="*/ 207 h 233"/>
                <a:gd name="T46" fmla="*/ 17 w 332"/>
                <a:gd name="T47" fmla="*/ 227 h 233"/>
                <a:gd name="T48" fmla="*/ 11 w 332"/>
                <a:gd name="T4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2" h="233">
                  <a:moveTo>
                    <a:pt x="11" y="233"/>
                  </a:moveTo>
                  <a:lnTo>
                    <a:pt x="0" y="221"/>
                  </a:lnTo>
                  <a:lnTo>
                    <a:pt x="5" y="215"/>
                  </a:lnTo>
                  <a:cubicBezTo>
                    <a:pt x="17" y="203"/>
                    <a:pt x="33" y="195"/>
                    <a:pt x="49" y="190"/>
                  </a:cubicBezTo>
                  <a:lnTo>
                    <a:pt x="174" y="159"/>
                  </a:lnTo>
                  <a:cubicBezTo>
                    <a:pt x="201" y="152"/>
                    <a:pt x="225" y="138"/>
                    <a:pt x="245" y="118"/>
                  </a:cubicBezTo>
                  <a:lnTo>
                    <a:pt x="310" y="53"/>
                  </a:lnTo>
                  <a:cubicBezTo>
                    <a:pt x="314" y="50"/>
                    <a:pt x="316" y="45"/>
                    <a:pt x="316" y="40"/>
                  </a:cubicBezTo>
                  <a:cubicBezTo>
                    <a:pt x="316" y="34"/>
                    <a:pt x="314" y="30"/>
                    <a:pt x="310" y="26"/>
                  </a:cubicBezTo>
                  <a:cubicBezTo>
                    <a:pt x="302" y="18"/>
                    <a:pt x="290" y="18"/>
                    <a:pt x="282" y="26"/>
                  </a:cubicBezTo>
                  <a:lnTo>
                    <a:pt x="225" y="83"/>
                  </a:lnTo>
                  <a:cubicBezTo>
                    <a:pt x="208" y="101"/>
                    <a:pt x="184" y="111"/>
                    <a:pt x="159" y="111"/>
                  </a:cubicBezTo>
                  <a:lnTo>
                    <a:pt x="53" y="114"/>
                  </a:lnTo>
                  <a:lnTo>
                    <a:pt x="53" y="97"/>
                  </a:lnTo>
                  <a:lnTo>
                    <a:pt x="159" y="95"/>
                  </a:lnTo>
                  <a:cubicBezTo>
                    <a:pt x="179" y="94"/>
                    <a:pt x="199" y="86"/>
                    <a:pt x="214" y="71"/>
                  </a:cubicBezTo>
                  <a:lnTo>
                    <a:pt x="271" y="14"/>
                  </a:lnTo>
                  <a:cubicBezTo>
                    <a:pt x="285" y="0"/>
                    <a:pt x="308" y="0"/>
                    <a:pt x="322" y="14"/>
                  </a:cubicBezTo>
                  <a:cubicBezTo>
                    <a:pt x="328" y="21"/>
                    <a:pt x="332" y="30"/>
                    <a:pt x="332" y="40"/>
                  </a:cubicBezTo>
                  <a:cubicBezTo>
                    <a:pt x="332" y="49"/>
                    <a:pt x="328" y="58"/>
                    <a:pt x="322" y="65"/>
                  </a:cubicBezTo>
                  <a:lnTo>
                    <a:pt x="257" y="130"/>
                  </a:lnTo>
                  <a:cubicBezTo>
                    <a:pt x="235" y="152"/>
                    <a:pt x="208" y="167"/>
                    <a:pt x="178" y="175"/>
                  </a:cubicBezTo>
                  <a:lnTo>
                    <a:pt x="53" y="207"/>
                  </a:lnTo>
                  <a:cubicBezTo>
                    <a:pt x="40" y="210"/>
                    <a:pt x="27" y="217"/>
                    <a:pt x="17" y="227"/>
                  </a:cubicBezTo>
                  <a:lnTo>
                    <a:pt x="11" y="233"/>
                  </a:lnTo>
                </a:path>
              </a:pathLst>
            </a:custGeom>
            <a:grp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1524">
              <a:extLst>
                <a:ext uri="{FF2B5EF4-FFF2-40B4-BE49-F238E27FC236}">
                  <a16:creationId xmlns:a16="http://schemas.microsoft.com/office/drawing/2014/main" id="{B141D064-3E2F-61BF-89C7-46A2B0756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6051" y="327026"/>
              <a:ext cx="76200" cy="55563"/>
            </a:xfrm>
            <a:custGeom>
              <a:avLst/>
              <a:gdLst>
                <a:gd name="T0" fmla="*/ 12 w 124"/>
                <a:gd name="T1" fmla="*/ 91 h 91"/>
                <a:gd name="T2" fmla="*/ 0 w 124"/>
                <a:gd name="T3" fmla="*/ 79 h 91"/>
                <a:gd name="T4" fmla="*/ 70 w 124"/>
                <a:gd name="T5" fmla="*/ 9 h 91"/>
                <a:gd name="T6" fmla="*/ 94 w 124"/>
                <a:gd name="T7" fmla="*/ 1 h 91"/>
                <a:gd name="T8" fmla="*/ 120 w 124"/>
                <a:gd name="T9" fmla="*/ 20 h 91"/>
                <a:gd name="T10" fmla="*/ 113 w 124"/>
                <a:gd name="T11" fmla="*/ 52 h 91"/>
                <a:gd name="T12" fmla="*/ 101 w 124"/>
                <a:gd name="T13" fmla="*/ 40 h 91"/>
                <a:gd name="T14" fmla="*/ 104 w 124"/>
                <a:gd name="T15" fmla="*/ 26 h 91"/>
                <a:gd name="T16" fmla="*/ 93 w 124"/>
                <a:gd name="T17" fmla="*/ 17 h 91"/>
                <a:gd name="T18" fmla="*/ 82 w 124"/>
                <a:gd name="T19" fmla="*/ 21 h 91"/>
                <a:gd name="T20" fmla="*/ 12 w 124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" h="91">
                  <a:moveTo>
                    <a:pt x="12" y="91"/>
                  </a:moveTo>
                  <a:lnTo>
                    <a:pt x="0" y="79"/>
                  </a:lnTo>
                  <a:lnTo>
                    <a:pt x="70" y="9"/>
                  </a:lnTo>
                  <a:cubicBezTo>
                    <a:pt x="77" y="3"/>
                    <a:pt x="86" y="0"/>
                    <a:pt x="94" y="1"/>
                  </a:cubicBezTo>
                  <a:cubicBezTo>
                    <a:pt x="106" y="2"/>
                    <a:pt x="116" y="9"/>
                    <a:pt x="120" y="20"/>
                  </a:cubicBezTo>
                  <a:cubicBezTo>
                    <a:pt x="124" y="31"/>
                    <a:pt x="121" y="43"/>
                    <a:pt x="113" y="52"/>
                  </a:cubicBezTo>
                  <a:lnTo>
                    <a:pt x="101" y="40"/>
                  </a:lnTo>
                  <a:cubicBezTo>
                    <a:pt x="105" y="36"/>
                    <a:pt x="106" y="31"/>
                    <a:pt x="104" y="26"/>
                  </a:cubicBezTo>
                  <a:cubicBezTo>
                    <a:pt x="102" y="21"/>
                    <a:pt x="98" y="18"/>
                    <a:pt x="93" y="17"/>
                  </a:cubicBezTo>
                  <a:cubicBezTo>
                    <a:pt x="89" y="17"/>
                    <a:pt x="85" y="18"/>
                    <a:pt x="82" y="21"/>
                  </a:cubicBezTo>
                  <a:lnTo>
                    <a:pt x="12" y="91"/>
                  </a:lnTo>
                </a:path>
              </a:pathLst>
            </a:custGeom>
            <a:grp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1525">
              <a:extLst>
                <a:ext uri="{FF2B5EF4-FFF2-40B4-BE49-F238E27FC236}">
                  <a16:creationId xmlns:a16="http://schemas.microsoft.com/office/drawing/2014/main" id="{96627770-5267-D2E2-8FB7-A28B71D82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5551" y="395289"/>
              <a:ext cx="125413" cy="125413"/>
            </a:xfrm>
            <a:custGeom>
              <a:avLst/>
              <a:gdLst>
                <a:gd name="T0" fmla="*/ 48 w 79"/>
                <a:gd name="T1" fmla="*/ 79 h 79"/>
                <a:gd name="T2" fmla="*/ 44 w 79"/>
                <a:gd name="T3" fmla="*/ 74 h 79"/>
                <a:gd name="T4" fmla="*/ 70 w 79"/>
                <a:gd name="T5" fmla="*/ 48 h 79"/>
                <a:gd name="T6" fmla="*/ 31 w 79"/>
                <a:gd name="T7" fmla="*/ 9 h 79"/>
                <a:gd name="T8" fmla="*/ 4 w 79"/>
                <a:gd name="T9" fmla="*/ 35 h 79"/>
                <a:gd name="T10" fmla="*/ 0 w 79"/>
                <a:gd name="T11" fmla="*/ 31 h 79"/>
                <a:gd name="T12" fmla="*/ 31 w 79"/>
                <a:gd name="T13" fmla="*/ 0 h 79"/>
                <a:gd name="T14" fmla="*/ 79 w 79"/>
                <a:gd name="T15" fmla="*/ 48 h 79"/>
                <a:gd name="T16" fmla="*/ 48 w 79"/>
                <a:gd name="T1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9">
                  <a:moveTo>
                    <a:pt x="48" y="79"/>
                  </a:moveTo>
                  <a:lnTo>
                    <a:pt x="44" y="74"/>
                  </a:lnTo>
                  <a:lnTo>
                    <a:pt x="70" y="48"/>
                  </a:lnTo>
                  <a:lnTo>
                    <a:pt x="31" y="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31" y="0"/>
                  </a:lnTo>
                  <a:lnTo>
                    <a:pt x="79" y="48"/>
                  </a:lnTo>
                  <a:lnTo>
                    <a:pt x="48" y="79"/>
                  </a:lnTo>
                  <a:close/>
                </a:path>
              </a:pathLst>
            </a:custGeom>
            <a:grp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6194C3F-AF84-FFBE-70EB-5929DE493829}"/>
              </a:ext>
            </a:extLst>
          </p:cNvPr>
          <p:cNvGrpSpPr/>
          <p:nvPr/>
        </p:nvGrpSpPr>
        <p:grpSpPr>
          <a:xfrm>
            <a:off x="9276548" y="2417799"/>
            <a:ext cx="723270" cy="682773"/>
            <a:chOff x="6730094" y="1491943"/>
            <a:chExt cx="292561" cy="276180"/>
          </a:xfrm>
        </p:grpSpPr>
        <p:sp>
          <p:nvSpPr>
            <p:cNvPr id="34" name="Star3">
              <a:extLst>
                <a:ext uri="{FF2B5EF4-FFF2-40B4-BE49-F238E27FC236}">
                  <a16:creationId xmlns:a16="http://schemas.microsoft.com/office/drawing/2014/main" id="{78AC81DE-B0BB-7DC7-F2EC-6B2BC23BB85B}"/>
                </a:ext>
              </a:extLst>
            </p:cNvPr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6730094" y="1634863"/>
              <a:ext cx="140161" cy="133260"/>
            </a:xfrm>
            <a:custGeom>
              <a:avLst/>
              <a:gdLst>
                <a:gd name="T0" fmla="*/ 666 w 706"/>
                <a:gd name="T1" fmla="*/ 223 h 670"/>
                <a:gd name="T2" fmla="*/ 477 w 706"/>
                <a:gd name="T3" fmla="*/ 195 h 670"/>
                <a:gd name="T4" fmla="*/ 393 w 706"/>
                <a:gd name="T5" fmla="*/ 24 h 670"/>
                <a:gd name="T6" fmla="*/ 353 w 706"/>
                <a:gd name="T7" fmla="*/ 0 h 670"/>
                <a:gd name="T8" fmla="*/ 314 w 706"/>
                <a:gd name="T9" fmla="*/ 24 h 670"/>
                <a:gd name="T10" fmla="*/ 230 w 706"/>
                <a:gd name="T11" fmla="*/ 195 h 670"/>
                <a:gd name="T12" fmla="*/ 41 w 706"/>
                <a:gd name="T13" fmla="*/ 223 h 670"/>
                <a:gd name="T14" fmla="*/ 5 w 706"/>
                <a:gd name="T15" fmla="*/ 252 h 670"/>
                <a:gd name="T16" fmla="*/ 17 w 706"/>
                <a:gd name="T17" fmla="*/ 297 h 670"/>
                <a:gd name="T18" fmla="*/ 153 w 706"/>
                <a:gd name="T19" fmla="*/ 430 h 670"/>
                <a:gd name="T20" fmla="*/ 121 w 706"/>
                <a:gd name="T21" fmla="*/ 618 h 670"/>
                <a:gd name="T22" fmla="*/ 138 w 706"/>
                <a:gd name="T23" fmla="*/ 661 h 670"/>
                <a:gd name="T24" fmla="*/ 164 w 706"/>
                <a:gd name="T25" fmla="*/ 670 h 670"/>
                <a:gd name="T26" fmla="*/ 184 w 706"/>
                <a:gd name="T27" fmla="*/ 665 h 670"/>
                <a:gd name="T28" fmla="*/ 353 w 706"/>
                <a:gd name="T29" fmla="*/ 576 h 670"/>
                <a:gd name="T30" fmla="*/ 522 w 706"/>
                <a:gd name="T31" fmla="*/ 665 h 670"/>
                <a:gd name="T32" fmla="*/ 543 w 706"/>
                <a:gd name="T33" fmla="*/ 670 h 670"/>
                <a:gd name="T34" fmla="*/ 568 w 706"/>
                <a:gd name="T35" fmla="*/ 661 h 670"/>
                <a:gd name="T36" fmla="*/ 586 w 706"/>
                <a:gd name="T37" fmla="*/ 618 h 670"/>
                <a:gd name="T38" fmla="*/ 554 w 706"/>
                <a:gd name="T39" fmla="*/ 430 h 670"/>
                <a:gd name="T40" fmla="*/ 690 w 706"/>
                <a:gd name="T41" fmla="*/ 297 h 670"/>
                <a:gd name="T42" fmla="*/ 701 w 706"/>
                <a:gd name="T43" fmla="*/ 252 h 670"/>
                <a:gd name="T44" fmla="*/ 666 w 706"/>
                <a:gd name="T45" fmla="*/ 223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6" h="670">
                  <a:moveTo>
                    <a:pt x="666" y="223"/>
                  </a:moveTo>
                  <a:lnTo>
                    <a:pt x="477" y="195"/>
                  </a:lnTo>
                  <a:lnTo>
                    <a:pt x="393" y="24"/>
                  </a:lnTo>
                  <a:cubicBezTo>
                    <a:pt x="385" y="9"/>
                    <a:pt x="370" y="0"/>
                    <a:pt x="353" y="0"/>
                  </a:cubicBezTo>
                  <a:cubicBezTo>
                    <a:pt x="337" y="0"/>
                    <a:pt x="321" y="9"/>
                    <a:pt x="314" y="24"/>
                  </a:cubicBezTo>
                  <a:lnTo>
                    <a:pt x="230" y="195"/>
                  </a:lnTo>
                  <a:lnTo>
                    <a:pt x="41" y="223"/>
                  </a:lnTo>
                  <a:cubicBezTo>
                    <a:pt x="24" y="225"/>
                    <a:pt x="11" y="237"/>
                    <a:pt x="5" y="252"/>
                  </a:cubicBezTo>
                  <a:cubicBezTo>
                    <a:pt x="0" y="268"/>
                    <a:pt x="5" y="286"/>
                    <a:pt x="17" y="297"/>
                  </a:cubicBezTo>
                  <a:lnTo>
                    <a:pt x="153" y="430"/>
                  </a:lnTo>
                  <a:lnTo>
                    <a:pt x="121" y="618"/>
                  </a:lnTo>
                  <a:cubicBezTo>
                    <a:pt x="118" y="635"/>
                    <a:pt x="125" y="652"/>
                    <a:pt x="138" y="661"/>
                  </a:cubicBezTo>
                  <a:cubicBezTo>
                    <a:pt x="146" y="667"/>
                    <a:pt x="155" y="670"/>
                    <a:pt x="164" y="670"/>
                  </a:cubicBezTo>
                  <a:cubicBezTo>
                    <a:pt x="171" y="670"/>
                    <a:pt x="178" y="668"/>
                    <a:pt x="184" y="665"/>
                  </a:cubicBezTo>
                  <a:lnTo>
                    <a:pt x="353" y="576"/>
                  </a:lnTo>
                  <a:lnTo>
                    <a:pt x="522" y="665"/>
                  </a:lnTo>
                  <a:cubicBezTo>
                    <a:pt x="529" y="668"/>
                    <a:pt x="536" y="670"/>
                    <a:pt x="543" y="670"/>
                  </a:cubicBezTo>
                  <a:cubicBezTo>
                    <a:pt x="552" y="670"/>
                    <a:pt x="561" y="667"/>
                    <a:pt x="568" y="661"/>
                  </a:cubicBezTo>
                  <a:cubicBezTo>
                    <a:pt x="582" y="652"/>
                    <a:pt x="589" y="635"/>
                    <a:pt x="586" y="618"/>
                  </a:cubicBezTo>
                  <a:lnTo>
                    <a:pt x="554" y="430"/>
                  </a:lnTo>
                  <a:lnTo>
                    <a:pt x="690" y="297"/>
                  </a:lnTo>
                  <a:cubicBezTo>
                    <a:pt x="702" y="286"/>
                    <a:pt x="706" y="268"/>
                    <a:pt x="701" y="252"/>
                  </a:cubicBezTo>
                  <a:cubicBezTo>
                    <a:pt x="696" y="237"/>
                    <a:pt x="682" y="225"/>
                    <a:pt x="666" y="223"/>
                  </a:cubicBezTo>
                  <a:close/>
                </a:path>
              </a:pathLst>
            </a:custGeom>
            <a:noFill/>
            <a:ln w="57150">
              <a:solidFill>
                <a:schemeClr val="accent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Star3">
              <a:extLst>
                <a:ext uri="{FF2B5EF4-FFF2-40B4-BE49-F238E27FC236}">
                  <a16:creationId xmlns:a16="http://schemas.microsoft.com/office/drawing/2014/main" id="{25B73C87-A979-6D86-82BC-A63166A7ECE5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6882494" y="1634863"/>
              <a:ext cx="140161" cy="133260"/>
            </a:xfrm>
            <a:custGeom>
              <a:avLst/>
              <a:gdLst>
                <a:gd name="T0" fmla="*/ 666 w 706"/>
                <a:gd name="T1" fmla="*/ 223 h 670"/>
                <a:gd name="T2" fmla="*/ 477 w 706"/>
                <a:gd name="T3" fmla="*/ 195 h 670"/>
                <a:gd name="T4" fmla="*/ 393 w 706"/>
                <a:gd name="T5" fmla="*/ 24 h 670"/>
                <a:gd name="T6" fmla="*/ 353 w 706"/>
                <a:gd name="T7" fmla="*/ 0 h 670"/>
                <a:gd name="T8" fmla="*/ 314 w 706"/>
                <a:gd name="T9" fmla="*/ 24 h 670"/>
                <a:gd name="T10" fmla="*/ 230 w 706"/>
                <a:gd name="T11" fmla="*/ 195 h 670"/>
                <a:gd name="T12" fmla="*/ 41 w 706"/>
                <a:gd name="T13" fmla="*/ 223 h 670"/>
                <a:gd name="T14" fmla="*/ 5 w 706"/>
                <a:gd name="T15" fmla="*/ 252 h 670"/>
                <a:gd name="T16" fmla="*/ 17 w 706"/>
                <a:gd name="T17" fmla="*/ 297 h 670"/>
                <a:gd name="T18" fmla="*/ 153 w 706"/>
                <a:gd name="T19" fmla="*/ 430 h 670"/>
                <a:gd name="T20" fmla="*/ 121 w 706"/>
                <a:gd name="T21" fmla="*/ 618 h 670"/>
                <a:gd name="T22" fmla="*/ 138 w 706"/>
                <a:gd name="T23" fmla="*/ 661 h 670"/>
                <a:gd name="T24" fmla="*/ 164 w 706"/>
                <a:gd name="T25" fmla="*/ 670 h 670"/>
                <a:gd name="T26" fmla="*/ 184 w 706"/>
                <a:gd name="T27" fmla="*/ 665 h 670"/>
                <a:gd name="T28" fmla="*/ 353 w 706"/>
                <a:gd name="T29" fmla="*/ 576 h 670"/>
                <a:gd name="T30" fmla="*/ 522 w 706"/>
                <a:gd name="T31" fmla="*/ 665 h 670"/>
                <a:gd name="T32" fmla="*/ 543 w 706"/>
                <a:gd name="T33" fmla="*/ 670 h 670"/>
                <a:gd name="T34" fmla="*/ 568 w 706"/>
                <a:gd name="T35" fmla="*/ 661 h 670"/>
                <a:gd name="T36" fmla="*/ 586 w 706"/>
                <a:gd name="T37" fmla="*/ 618 h 670"/>
                <a:gd name="T38" fmla="*/ 554 w 706"/>
                <a:gd name="T39" fmla="*/ 430 h 670"/>
                <a:gd name="T40" fmla="*/ 690 w 706"/>
                <a:gd name="T41" fmla="*/ 297 h 670"/>
                <a:gd name="T42" fmla="*/ 701 w 706"/>
                <a:gd name="T43" fmla="*/ 252 h 670"/>
                <a:gd name="T44" fmla="*/ 666 w 706"/>
                <a:gd name="T45" fmla="*/ 223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6" h="670">
                  <a:moveTo>
                    <a:pt x="666" y="223"/>
                  </a:moveTo>
                  <a:lnTo>
                    <a:pt x="477" y="195"/>
                  </a:lnTo>
                  <a:lnTo>
                    <a:pt x="393" y="24"/>
                  </a:lnTo>
                  <a:cubicBezTo>
                    <a:pt x="385" y="9"/>
                    <a:pt x="370" y="0"/>
                    <a:pt x="353" y="0"/>
                  </a:cubicBezTo>
                  <a:cubicBezTo>
                    <a:pt x="337" y="0"/>
                    <a:pt x="321" y="9"/>
                    <a:pt x="314" y="24"/>
                  </a:cubicBezTo>
                  <a:lnTo>
                    <a:pt x="230" y="195"/>
                  </a:lnTo>
                  <a:lnTo>
                    <a:pt x="41" y="223"/>
                  </a:lnTo>
                  <a:cubicBezTo>
                    <a:pt x="24" y="225"/>
                    <a:pt x="11" y="237"/>
                    <a:pt x="5" y="252"/>
                  </a:cubicBezTo>
                  <a:cubicBezTo>
                    <a:pt x="0" y="268"/>
                    <a:pt x="5" y="286"/>
                    <a:pt x="17" y="297"/>
                  </a:cubicBezTo>
                  <a:lnTo>
                    <a:pt x="153" y="430"/>
                  </a:lnTo>
                  <a:lnTo>
                    <a:pt x="121" y="618"/>
                  </a:lnTo>
                  <a:cubicBezTo>
                    <a:pt x="118" y="635"/>
                    <a:pt x="125" y="652"/>
                    <a:pt x="138" y="661"/>
                  </a:cubicBezTo>
                  <a:cubicBezTo>
                    <a:pt x="146" y="667"/>
                    <a:pt x="155" y="670"/>
                    <a:pt x="164" y="670"/>
                  </a:cubicBezTo>
                  <a:cubicBezTo>
                    <a:pt x="171" y="670"/>
                    <a:pt x="178" y="668"/>
                    <a:pt x="184" y="665"/>
                  </a:cubicBezTo>
                  <a:lnTo>
                    <a:pt x="353" y="576"/>
                  </a:lnTo>
                  <a:lnTo>
                    <a:pt x="522" y="665"/>
                  </a:lnTo>
                  <a:cubicBezTo>
                    <a:pt x="529" y="668"/>
                    <a:pt x="536" y="670"/>
                    <a:pt x="543" y="670"/>
                  </a:cubicBezTo>
                  <a:cubicBezTo>
                    <a:pt x="552" y="670"/>
                    <a:pt x="561" y="667"/>
                    <a:pt x="568" y="661"/>
                  </a:cubicBezTo>
                  <a:cubicBezTo>
                    <a:pt x="582" y="652"/>
                    <a:pt x="589" y="635"/>
                    <a:pt x="586" y="618"/>
                  </a:cubicBezTo>
                  <a:lnTo>
                    <a:pt x="554" y="430"/>
                  </a:lnTo>
                  <a:lnTo>
                    <a:pt x="690" y="297"/>
                  </a:lnTo>
                  <a:cubicBezTo>
                    <a:pt x="702" y="286"/>
                    <a:pt x="706" y="268"/>
                    <a:pt x="701" y="252"/>
                  </a:cubicBezTo>
                  <a:cubicBezTo>
                    <a:pt x="696" y="237"/>
                    <a:pt x="682" y="225"/>
                    <a:pt x="666" y="223"/>
                  </a:cubicBezTo>
                  <a:close/>
                </a:path>
              </a:pathLst>
            </a:custGeom>
            <a:noFill/>
            <a:ln w="57150">
              <a:solidFill>
                <a:schemeClr val="accent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Star3">
              <a:extLst>
                <a:ext uri="{FF2B5EF4-FFF2-40B4-BE49-F238E27FC236}">
                  <a16:creationId xmlns:a16="http://schemas.microsoft.com/office/drawing/2014/main" id="{F6131F89-60AC-A405-0F39-074AC994E2F9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6806294" y="1491943"/>
              <a:ext cx="140161" cy="133260"/>
            </a:xfrm>
            <a:custGeom>
              <a:avLst/>
              <a:gdLst>
                <a:gd name="T0" fmla="*/ 666 w 706"/>
                <a:gd name="T1" fmla="*/ 223 h 670"/>
                <a:gd name="T2" fmla="*/ 477 w 706"/>
                <a:gd name="T3" fmla="*/ 195 h 670"/>
                <a:gd name="T4" fmla="*/ 393 w 706"/>
                <a:gd name="T5" fmla="*/ 24 h 670"/>
                <a:gd name="T6" fmla="*/ 353 w 706"/>
                <a:gd name="T7" fmla="*/ 0 h 670"/>
                <a:gd name="T8" fmla="*/ 314 w 706"/>
                <a:gd name="T9" fmla="*/ 24 h 670"/>
                <a:gd name="T10" fmla="*/ 230 w 706"/>
                <a:gd name="T11" fmla="*/ 195 h 670"/>
                <a:gd name="T12" fmla="*/ 41 w 706"/>
                <a:gd name="T13" fmla="*/ 223 h 670"/>
                <a:gd name="T14" fmla="*/ 5 w 706"/>
                <a:gd name="T15" fmla="*/ 252 h 670"/>
                <a:gd name="T16" fmla="*/ 17 w 706"/>
                <a:gd name="T17" fmla="*/ 297 h 670"/>
                <a:gd name="T18" fmla="*/ 153 w 706"/>
                <a:gd name="T19" fmla="*/ 430 h 670"/>
                <a:gd name="T20" fmla="*/ 121 w 706"/>
                <a:gd name="T21" fmla="*/ 618 h 670"/>
                <a:gd name="T22" fmla="*/ 138 w 706"/>
                <a:gd name="T23" fmla="*/ 661 h 670"/>
                <a:gd name="T24" fmla="*/ 164 w 706"/>
                <a:gd name="T25" fmla="*/ 670 h 670"/>
                <a:gd name="T26" fmla="*/ 184 w 706"/>
                <a:gd name="T27" fmla="*/ 665 h 670"/>
                <a:gd name="T28" fmla="*/ 353 w 706"/>
                <a:gd name="T29" fmla="*/ 576 h 670"/>
                <a:gd name="T30" fmla="*/ 522 w 706"/>
                <a:gd name="T31" fmla="*/ 665 h 670"/>
                <a:gd name="T32" fmla="*/ 543 w 706"/>
                <a:gd name="T33" fmla="*/ 670 h 670"/>
                <a:gd name="T34" fmla="*/ 568 w 706"/>
                <a:gd name="T35" fmla="*/ 661 h 670"/>
                <a:gd name="T36" fmla="*/ 586 w 706"/>
                <a:gd name="T37" fmla="*/ 618 h 670"/>
                <a:gd name="T38" fmla="*/ 554 w 706"/>
                <a:gd name="T39" fmla="*/ 430 h 670"/>
                <a:gd name="T40" fmla="*/ 690 w 706"/>
                <a:gd name="T41" fmla="*/ 297 h 670"/>
                <a:gd name="T42" fmla="*/ 701 w 706"/>
                <a:gd name="T43" fmla="*/ 252 h 670"/>
                <a:gd name="T44" fmla="*/ 666 w 706"/>
                <a:gd name="T45" fmla="*/ 223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6" h="670">
                  <a:moveTo>
                    <a:pt x="666" y="223"/>
                  </a:moveTo>
                  <a:lnTo>
                    <a:pt x="477" y="195"/>
                  </a:lnTo>
                  <a:lnTo>
                    <a:pt x="393" y="24"/>
                  </a:lnTo>
                  <a:cubicBezTo>
                    <a:pt x="385" y="9"/>
                    <a:pt x="370" y="0"/>
                    <a:pt x="353" y="0"/>
                  </a:cubicBezTo>
                  <a:cubicBezTo>
                    <a:pt x="337" y="0"/>
                    <a:pt x="321" y="9"/>
                    <a:pt x="314" y="24"/>
                  </a:cubicBezTo>
                  <a:lnTo>
                    <a:pt x="230" y="195"/>
                  </a:lnTo>
                  <a:lnTo>
                    <a:pt x="41" y="223"/>
                  </a:lnTo>
                  <a:cubicBezTo>
                    <a:pt x="24" y="225"/>
                    <a:pt x="11" y="237"/>
                    <a:pt x="5" y="252"/>
                  </a:cubicBezTo>
                  <a:cubicBezTo>
                    <a:pt x="0" y="268"/>
                    <a:pt x="5" y="286"/>
                    <a:pt x="17" y="297"/>
                  </a:cubicBezTo>
                  <a:lnTo>
                    <a:pt x="153" y="430"/>
                  </a:lnTo>
                  <a:lnTo>
                    <a:pt x="121" y="618"/>
                  </a:lnTo>
                  <a:cubicBezTo>
                    <a:pt x="118" y="635"/>
                    <a:pt x="125" y="652"/>
                    <a:pt x="138" y="661"/>
                  </a:cubicBezTo>
                  <a:cubicBezTo>
                    <a:pt x="146" y="667"/>
                    <a:pt x="155" y="670"/>
                    <a:pt x="164" y="670"/>
                  </a:cubicBezTo>
                  <a:cubicBezTo>
                    <a:pt x="171" y="670"/>
                    <a:pt x="178" y="668"/>
                    <a:pt x="184" y="665"/>
                  </a:cubicBezTo>
                  <a:lnTo>
                    <a:pt x="353" y="576"/>
                  </a:lnTo>
                  <a:lnTo>
                    <a:pt x="522" y="665"/>
                  </a:lnTo>
                  <a:cubicBezTo>
                    <a:pt x="529" y="668"/>
                    <a:pt x="536" y="670"/>
                    <a:pt x="543" y="670"/>
                  </a:cubicBezTo>
                  <a:cubicBezTo>
                    <a:pt x="552" y="670"/>
                    <a:pt x="561" y="667"/>
                    <a:pt x="568" y="661"/>
                  </a:cubicBezTo>
                  <a:cubicBezTo>
                    <a:pt x="582" y="652"/>
                    <a:pt x="589" y="635"/>
                    <a:pt x="586" y="618"/>
                  </a:cubicBezTo>
                  <a:lnTo>
                    <a:pt x="554" y="430"/>
                  </a:lnTo>
                  <a:lnTo>
                    <a:pt x="690" y="297"/>
                  </a:lnTo>
                  <a:cubicBezTo>
                    <a:pt x="702" y="286"/>
                    <a:pt x="706" y="268"/>
                    <a:pt x="701" y="252"/>
                  </a:cubicBezTo>
                  <a:cubicBezTo>
                    <a:pt x="696" y="237"/>
                    <a:pt x="682" y="225"/>
                    <a:pt x="666" y="223"/>
                  </a:cubicBezTo>
                  <a:close/>
                </a:path>
              </a:pathLst>
            </a:custGeom>
            <a:noFill/>
            <a:ln w="57150">
              <a:solidFill>
                <a:schemeClr val="accent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28F0661D-FB8A-5C1C-14F8-DB271F53FF77}"/>
              </a:ext>
            </a:extLst>
          </p:cNvPr>
          <p:cNvSpPr txBox="1"/>
          <p:nvPr/>
        </p:nvSpPr>
        <p:spPr>
          <a:xfrm>
            <a:off x="8059130" y="4371213"/>
            <a:ext cx="2603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Of consumers say they get the right amount of mail only 46% say that’s true of email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D2385BA-84EB-7943-6C39-41836DF663D7}"/>
              </a:ext>
            </a:extLst>
          </p:cNvPr>
          <p:cNvSpPr txBox="1"/>
          <p:nvPr/>
        </p:nvSpPr>
        <p:spPr>
          <a:xfrm>
            <a:off x="10030076" y="2395179"/>
            <a:ext cx="148790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0" b="1" dirty="0">
                <a:solidFill>
                  <a:schemeClr val="accent1"/>
                </a:solidFill>
                <a:latin typeface="+mj-lt"/>
              </a:rPr>
              <a:t>60</a:t>
            </a:r>
            <a:r>
              <a:rPr lang="en-GB" sz="4000" b="1" dirty="0">
                <a:latin typeface="+mj-lt"/>
              </a:rPr>
              <a:t>%</a:t>
            </a:r>
            <a:endParaRPr lang="en-GB" sz="60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311234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7E0C44-381F-DA09-73A4-16FFDBBA2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ypical cold response r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7A6450-D511-DC7F-A838-E9CF7489D5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ill vary across different sectors, you can access the full data source at JICMAIL Discove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701FAA-95D1-1602-20A5-8BEAEC4EAC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638527-01B9-EA34-2C54-6FABE25660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ource:  JICMAIL, Response Rate Tracker, 2024</a:t>
            </a:r>
          </a:p>
        </p:txBody>
      </p:sp>
      <p:graphicFrame>
        <p:nvGraphicFramePr>
          <p:cNvPr id="7" name="Content Placeholder 7">
            <a:extLst>
              <a:ext uri="{FF2B5EF4-FFF2-40B4-BE49-F238E27FC236}">
                <a16:creationId xmlns:a16="http://schemas.microsoft.com/office/drawing/2014/main" id="{2D62956F-DEF8-19A4-9DF5-E7C3D8C834B9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561484122"/>
              </p:ext>
            </p:extLst>
          </p:nvPr>
        </p:nvGraphicFramePr>
        <p:xfrm>
          <a:off x="423863" y="1781175"/>
          <a:ext cx="11333162" cy="38793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424335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A2819-6918-D20B-258E-B791C0492C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YPICAL LIFETIME VALU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20306-2787-ED03-CB12-5487B9BD87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4A190-A407-79EF-8E67-32672BD9417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51855C6-52F9-82EF-7AC7-18109AA68F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0" y="1781175"/>
            <a:ext cx="5660571" cy="4476750"/>
          </a:xfrm>
        </p:spPr>
        <p:txBody>
          <a:bodyPr/>
          <a:lstStyle/>
          <a:p>
            <a:r>
              <a:rPr lang="en-GB" dirty="0"/>
              <a:t>Take a look at your own data and the lifetime values to your different acquisition channels</a:t>
            </a:r>
          </a:p>
          <a:p>
            <a:r>
              <a:rPr lang="en-GB" dirty="0"/>
              <a:t>Brands will typically see that whilst direct mail acquisition isn’t the cheapest route to acquiring a new customer lifetime value will almost certainly be greater than other channels</a:t>
            </a:r>
          </a:p>
          <a:p>
            <a:r>
              <a:rPr lang="en-GB" dirty="0"/>
              <a:t>This is also true of door drop and partially addressed</a:t>
            </a:r>
          </a:p>
          <a:p>
            <a:r>
              <a:rPr lang="en-GB" dirty="0"/>
              <a:t>And will perform at better lifetime value outcomes than more main stream broadcast channels</a:t>
            </a:r>
          </a:p>
          <a:p>
            <a:r>
              <a:rPr lang="en-GB" dirty="0"/>
              <a:t>The channels that tend to be least “sticky” will be the ones where it is easiest to drop out of the relationship that a consumer might have signed up to, which is why F2F tends to yield lower LTV</a:t>
            </a:r>
          </a:p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CADE6A-231B-91C7-A9E3-E85381F9BF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rapezoid 6">
            <a:extLst>
              <a:ext uri="{FF2B5EF4-FFF2-40B4-BE49-F238E27FC236}">
                <a16:creationId xmlns:a16="http://schemas.microsoft.com/office/drawing/2014/main" id="{2124E19C-5005-FA5B-E198-B8C1D01CB322}"/>
              </a:ext>
            </a:extLst>
          </p:cNvPr>
          <p:cNvSpPr/>
          <p:nvPr/>
        </p:nvSpPr>
        <p:spPr>
          <a:xfrm flipH="1" flipV="1">
            <a:off x="1430055" y="1896087"/>
            <a:ext cx="3701668" cy="817160"/>
          </a:xfrm>
          <a:prstGeom prst="trapezoi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C4F5D63D-7743-49A7-0D1D-00C1D0CB6919}"/>
              </a:ext>
            </a:extLst>
          </p:cNvPr>
          <p:cNvSpPr/>
          <p:nvPr/>
        </p:nvSpPr>
        <p:spPr>
          <a:xfrm flipH="1" flipV="1">
            <a:off x="1658464" y="2754452"/>
            <a:ext cx="3244851" cy="817160"/>
          </a:xfrm>
          <a:prstGeom prst="trapezoid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CD2584E7-8170-7C5F-DC91-76CD93163756}"/>
              </a:ext>
            </a:extLst>
          </p:cNvPr>
          <p:cNvSpPr/>
          <p:nvPr/>
        </p:nvSpPr>
        <p:spPr>
          <a:xfrm flipH="1" flipV="1">
            <a:off x="1880714" y="3612817"/>
            <a:ext cx="2800350" cy="817160"/>
          </a:xfrm>
          <a:prstGeom prst="trapezoid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rapezoid 9">
            <a:extLst>
              <a:ext uri="{FF2B5EF4-FFF2-40B4-BE49-F238E27FC236}">
                <a16:creationId xmlns:a16="http://schemas.microsoft.com/office/drawing/2014/main" id="{02231B14-2B41-24FC-BBDB-89F4D3AC404C}"/>
              </a:ext>
            </a:extLst>
          </p:cNvPr>
          <p:cNvSpPr/>
          <p:nvPr/>
        </p:nvSpPr>
        <p:spPr>
          <a:xfrm flipH="1" flipV="1">
            <a:off x="2111328" y="4471182"/>
            <a:ext cx="2355850" cy="817160"/>
          </a:xfrm>
          <a:prstGeom prst="trapezoid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rapezoid 10">
            <a:extLst>
              <a:ext uri="{FF2B5EF4-FFF2-40B4-BE49-F238E27FC236}">
                <a16:creationId xmlns:a16="http://schemas.microsoft.com/office/drawing/2014/main" id="{6BD19BB4-D01E-0BBA-0963-810515490F3C}"/>
              </a:ext>
            </a:extLst>
          </p:cNvPr>
          <p:cNvSpPr/>
          <p:nvPr/>
        </p:nvSpPr>
        <p:spPr>
          <a:xfrm flipH="1" flipV="1">
            <a:off x="2339928" y="5329548"/>
            <a:ext cx="1898650" cy="817160"/>
          </a:xfrm>
          <a:prstGeom prst="trapezoid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EBB6E3-3E62-5103-A02B-EBE164C74E09}"/>
              </a:ext>
            </a:extLst>
          </p:cNvPr>
          <p:cNvSpPr txBox="1"/>
          <p:nvPr/>
        </p:nvSpPr>
        <p:spPr>
          <a:xfrm>
            <a:off x="1792341" y="2120001"/>
            <a:ext cx="2977097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+mj-lt"/>
              </a:rPr>
              <a:t>COLD MAIL ACQUISI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3CAFCC-109D-E5E8-2CF8-8062C4C15C22}"/>
              </a:ext>
            </a:extLst>
          </p:cNvPr>
          <p:cNvSpPr txBox="1"/>
          <p:nvPr/>
        </p:nvSpPr>
        <p:spPr>
          <a:xfrm>
            <a:off x="1963862" y="2839867"/>
            <a:ext cx="26340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PARTIALLY ADDRESSED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DOOR DROP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14CBC05-2AA8-37ED-59D8-2247902AD04D}"/>
              </a:ext>
            </a:extLst>
          </p:cNvPr>
          <p:cNvSpPr txBox="1"/>
          <p:nvPr/>
        </p:nvSpPr>
        <p:spPr>
          <a:xfrm>
            <a:off x="3021391" y="5553462"/>
            <a:ext cx="5357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tx2"/>
                </a:solidFill>
                <a:latin typeface="+mj-lt"/>
              </a:rPr>
              <a:t>F2F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DE9A980-41F1-ABE6-8F66-053D27716EDD}"/>
              </a:ext>
            </a:extLst>
          </p:cNvPr>
          <p:cNvSpPr txBox="1"/>
          <p:nvPr/>
        </p:nvSpPr>
        <p:spPr>
          <a:xfrm>
            <a:off x="2553767" y="3836731"/>
            <a:ext cx="14542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TV &amp; RADI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76961D6-08C3-12D2-D825-C050FE9B9861}"/>
              </a:ext>
            </a:extLst>
          </p:cNvPr>
          <p:cNvSpPr txBox="1"/>
          <p:nvPr/>
        </p:nvSpPr>
        <p:spPr>
          <a:xfrm>
            <a:off x="2770521" y="4695096"/>
            <a:ext cx="10374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DIGITAL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F774641-B0A9-FF9E-AE1C-32B05626DEE9}"/>
              </a:ext>
            </a:extLst>
          </p:cNvPr>
          <p:cNvCxnSpPr>
            <a:cxnSpLocks/>
          </p:cNvCxnSpPr>
          <p:nvPr/>
        </p:nvCxnSpPr>
        <p:spPr>
          <a:xfrm>
            <a:off x="1297845" y="1896087"/>
            <a:ext cx="8366" cy="4250621"/>
          </a:xfrm>
          <a:prstGeom prst="straightConnector1">
            <a:avLst/>
          </a:prstGeom>
          <a:ln w="5715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308383E9-CC17-038E-D018-F0574D018A08}"/>
              </a:ext>
            </a:extLst>
          </p:cNvPr>
          <p:cNvSpPr txBox="1"/>
          <p:nvPr/>
        </p:nvSpPr>
        <p:spPr>
          <a:xfrm rot="16200000">
            <a:off x="156071" y="3855903"/>
            <a:ext cx="18453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+mj-lt"/>
              </a:rPr>
              <a:t>LIFETIME VALUE</a:t>
            </a:r>
          </a:p>
        </p:txBody>
      </p:sp>
    </p:spTree>
    <p:extLst>
      <p:ext uri="{BB962C8B-B14F-4D97-AF65-F5344CB8AC3E}">
        <p14:creationId xmlns:p14="http://schemas.microsoft.com/office/powerpoint/2010/main" val="37749062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B6F283-EEDE-2D15-9520-2592E9ECB1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ZHEIMER’S SOCIETY’S ‘FORGET ME NOT’ CAMPAIGN BROUGHT MEMORABLE RESULTS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B8B68E-CEBC-93CE-94AC-5A3ABD8211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5385B2-7E65-B3CC-F280-FCBF9ED09CB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6E67EFC-D595-4B45-41A9-6E5880E71A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9335905" cy="4476750"/>
          </a:xfrm>
        </p:spPr>
        <p:txBody>
          <a:bodyPr/>
          <a:lstStyle/>
          <a:p>
            <a:pPr marL="0" indent="0">
              <a:buNone/>
            </a:pPr>
            <a:r>
              <a:rPr lang="en-GB" b="1" dirty="0"/>
              <a:t>Background</a:t>
            </a:r>
          </a:p>
          <a:p>
            <a:pPr marL="0" indent="0" fontAlgn="base">
              <a:buNone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lzheimer's Society</a:t>
            </a:r>
            <a:r>
              <a:rPr lang="en-GB" dirty="0">
                <a:effectLst/>
              </a:rPr>
              <a:t> wanted to optimise </a:t>
            </a: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ir multi-channel integrated campaign aimed at stimulating donations for their annual Forget Me Not Appeal from both new and existing donors.</a:t>
            </a:r>
            <a:endParaRPr lang="en-GB" dirty="0">
              <a:effectLst/>
            </a:endParaRPr>
          </a:p>
          <a:p>
            <a:pPr marL="0" indent="0" fontAlgn="base">
              <a:buNone/>
            </a:pPr>
            <a:r>
              <a:rPr lang="en-GB" b="1" dirty="0"/>
              <a:t>Solution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Research showed that most supporters had a close connection to the cause – either from knowing/caring for someone living with dementia or knowing someone who had passed away with dementia </a:t>
            </a: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is insight prompted Alzheimer’s Society to show the close relationships between people with dementia and their loved ones. This was captured in the core </a:t>
            </a:r>
            <a:r>
              <a:rPr lang="en-GB" dirty="0">
                <a:latin typeface="Calibri" panose="020F0502020204030204" pitchFamily="34" charset="0"/>
                <a:ea typeface="Times New Roman" panose="02020603050405020304" pitchFamily="18" charset="0"/>
              </a:rPr>
              <a:t>message 'Who will you wear your badge for?’.</a:t>
            </a:r>
          </a:p>
          <a:p>
            <a:pPr marL="0" indent="0">
              <a:buNone/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e campaign ran a</a:t>
            </a:r>
            <a:r>
              <a:rPr lang="en-GB" dirty="0">
                <a:latin typeface="Calibri" panose="020F0502020204030204" pitchFamily="34" charset="0"/>
                <a:ea typeface="Times New Roman" panose="02020603050405020304" pitchFamily="18" charset="0"/>
              </a:rPr>
              <a:t>cross a diverse mix of channels including mail, door drop and Partially Addressed Mail. </a:t>
            </a:r>
            <a:r>
              <a:rPr lang="en-GB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reative </a:t>
            </a: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ynergy across all channels maximised the campaign’s impact. </a:t>
            </a:r>
            <a:endParaRPr lang="en-GB" dirty="0"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GB" b="1" dirty="0"/>
              <a:t>Results</a:t>
            </a:r>
            <a:endParaRPr lang="en-US" dirty="0"/>
          </a:p>
          <a:p>
            <a:pPr marL="0" indent="0">
              <a:spcAft>
                <a:spcPts val="1000"/>
              </a:spcAft>
              <a:buNone/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lzheimer’s Society’s optimisation 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strategy led to the 2023 campaign being the most successful Forget Me Not Appeal yet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ECA7943-593C-178C-F95E-AB24260CD93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100" kern="1200" dirty="0">
                <a:effectLst/>
                <a:latin typeface="Calibri" panose="020F0502020204030204" pitchFamily="34" charset="0"/>
                <a:ea typeface="MS Mincho" panose="02020609040205080304" pitchFamily="49" charset="-128"/>
              </a:rPr>
              <a:t>Source: DMA Award Entry, Charity, 2023</a:t>
            </a:r>
            <a:endParaRPr lang="en-GB" sz="11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7" name="Picture 6" descr="A letter with text on it&#10;&#10;Description automatically generated">
            <a:extLst>
              <a:ext uri="{FF2B5EF4-FFF2-40B4-BE49-F238E27FC236}">
                <a16:creationId xmlns:a16="http://schemas.microsoft.com/office/drawing/2014/main" id="{E0D0275F-3CEC-0A25-32D5-DC8B903C14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08543" y="2586525"/>
            <a:ext cx="2216756" cy="31670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AutoShape 2" descr="Our Charity of the Year 2023 - Together Housing">
            <a:extLst>
              <a:ext uri="{FF2B5EF4-FFF2-40B4-BE49-F238E27FC236}">
                <a16:creationId xmlns:a16="http://schemas.microsoft.com/office/drawing/2014/main" id="{BF1A4F8F-5640-8FB1-1E06-23D689B00D6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7034277-F190-1ADC-5833-BD0BC25C8B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972" r="83396" b="72585"/>
          <a:stretch/>
        </p:blipFill>
        <p:spPr>
          <a:xfrm>
            <a:off x="10027555" y="1800537"/>
            <a:ext cx="1368859" cy="74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7412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290DB6-784F-81CC-293F-D2CB22645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INNOVATIVE FORMAT DROVE LATE SUMMER BOOKINGS</a:t>
            </a:r>
            <a:br>
              <a:rPr lang="en-GB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82AE49-5E31-193A-7E0D-D892EE6132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22622D-34FC-6917-7CDB-714A171E3C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B35A87B-E1CD-7931-C522-AA0C04418D1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5" y="1781175"/>
            <a:ext cx="8829183" cy="4476750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GB" b="1" dirty="0"/>
              <a:t>Background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Exodus Travels launched their Summer of Adventure campaign in April 2024. They aimed to stand out in a competitive market and driving bookings by offering a 15% discount on bookings made and travelled before September 30th, 2024.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b="1" dirty="0"/>
              <a:t>Solution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Partnering with Webmart, Exodus created a unique, interactive mailer. The design featured a die-cut logo and a sliding bangtail element revealing the special offer. Inside, a pull-out spread showcased trips and campaign details, with clear calls-to-action. The mailer was envelope-enclosed to qualify for Mailmark rates, saving over £15,000.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Data cleansing ensured </a:t>
            </a:r>
            <a:r>
              <a:rPr lang="en-GB" dirty="0">
                <a:solidFill>
                  <a:srgbClr val="000000"/>
                </a:solidFill>
                <a:latin typeface="-webkit-standard"/>
              </a:rPr>
              <a:t>only compliant data would be used, reducing wastage. </a:t>
            </a:r>
            <a:r>
              <a:rPr lang="en-GB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JICMAIL insights guided the strategy. The campaign was made carbon-neutral through carbon-calculation and climate-positive postage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b="1" dirty="0">
                <a:solidFill>
                  <a:srgbClr val="000000"/>
                </a:solidFill>
                <a:latin typeface="Calibri" panose="020F0502020204030204" pitchFamily="34" charset="0"/>
              </a:rPr>
              <a:t>Results</a:t>
            </a:r>
            <a:endParaRPr lang="en-GB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GB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The campaign drove 25.7% of all late bookings in the 4 weeks following the mailing. It accounted for 22.85% of all revenue during that period, achieving an impressive +2,600% ROAS.</a:t>
            </a:r>
            <a:endParaRPr lang="en-GB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2FD85AE-C910-9E47-3506-4E88BA1AC3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A hand holding a blue rectangular object with a picture of a mountain landscape&#10;&#10;Description automatically generated">
            <a:extLst>
              <a:ext uri="{FF2B5EF4-FFF2-40B4-BE49-F238E27FC236}">
                <a16:creationId xmlns:a16="http://schemas.microsoft.com/office/drawing/2014/main" id="{7A3A3CF1-DB01-94DA-EC90-B2942025C0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47836" y="3470806"/>
            <a:ext cx="2660008" cy="1496188"/>
          </a:xfrm>
          <a:prstGeom prst="rect">
            <a:avLst/>
          </a:prstGeom>
        </p:spPr>
      </p:pic>
      <p:pic>
        <p:nvPicPr>
          <p:cNvPr id="8" name="Picture 1" descr="Exodus Travels Logo PNG Vector (SVG ...">
            <a:extLst>
              <a:ext uri="{FF2B5EF4-FFF2-40B4-BE49-F238E27FC236}">
                <a16:creationId xmlns:a16="http://schemas.microsoft.com/office/drawing/2014/main" id="{21C12A83-5D63-1EE3-9BED-9B817D309F70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6242" y="2746032"/>
            <a:ext cx="1763196" cy="641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5980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6DCF483_4CC0_4362_ADA0_617ACA3131BA&quot;,&quot;SourceFullName&quot;:&quot;\\\\Users\\arrantindall\\Library\\Group Containers\\UBF8T346G9.ms\\WebArchiveCopyPasteTempFiles\\com.microsoft.Word\\jY+Ralsi6akAAAAASUVORK5CYII=&quot;,&quot;LastUpdate&quot;:&quot;2025-02-20 11:41 AM&quot;,&quot;UpdatedBy&quot;:&quot;sophie.grender&quot;,&quot;IsLinked&quot;:false,&quot;IsBrokenLink&quot;:false,&quot;Type&quot;:2,&quot;ShapeId&quot;:0,&quot;WorksheetName&quot;:null}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0_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6937AC5-93BF-49A6-B607-CC4F4B0ECEB8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07d9dac-b3e0-4010-a31f-c9f487ae09b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83</Words>
  <Application>Microsoft Office PowerPoint</Application>
  <PresentationFormat>Widescreen</PresentationFormat>
  <Paragraphs>224</Paragraphs>
  <Slides>20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rial</vt:lpstr>
      <vt:lpstr>Arial Black</vt:lpstr>
      <vt:lpstr>Calibri</vt:lpstr>
      <vt:lpstr>Century Gothic</vt:lpstr>
      <vt:lpstr>Impact</vt:lpstr>
      <vt:lpstr>Söhne</vt:lpstr>
      <vt:lpstr>Times New Roman</vt:lpstr>
      <vt:lpstr>-webkit-standard</vt:lpstr>
      <vt:lpstr>Wingdings</vt:lpstr>
      <vt:lpstr>Office Theme</vt:lpstr>
      <vt:lpstr>10_Office Theme</vt:lpstr>
      <vt:lpstr>ROYAL MAIL ACQUISITION INCENTIVE 2025-2026</vt:lpstr>
      <vt:lpstr>PowerPoint Presentation</vt:lpstr>
      <vt:lpstr>There are good reasons to use mail</vt:lpstr>
      <vt:lpstr>What people want from brands</vt:lpstr>
      <vt:lpstr>Customer acquisition more challenging than ever</vt:lpstr>
      <vt:lpstr>Typical cold response rates</vt:lpstr>
      <vt:lpstr>TYPICAL LIFETIME VALUES</vt:lpstr>
      <vt:lpstr>ALZHEIMER’S SOCIETY’S ‘FORGET ME NOT’ CAMPAIGN BROUGHT MEMORABLE RESULTS</vt:lpstr>
      <vt:lpstr>AN INNOVATIVE FORMAT DROVE LATE SUMMER BOOKINGS </vt:lpstr>
      <vt:lpstr>Catalogues bedded in new, high-quality customers </vt:lpstr>
      <vt:lpstr>Some more compelling reasons…</vt:lpstr>
      <vt:lpstr>PowerPoint Presentation</vt:lpstr>
      <vt:lpstr>Advertising mail</vt:lpstr>
      <vt:lpstr>Entry requirements</vt:lpstr>
      <vt:lpstr>Offer dates</vt:lpstr>
      <vt:lpstr>Postage credits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2-20T12:2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